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4"/>
  </p:sldMasterIdLst>
  <p:notesMasterIdLst>
    <p:notesMasterId r:id="rId13"/>
  </p:notesMasterIdLst>
  <p:handoutMasterIdLst>
    <p:handoutMasterId r:id="rId14"/>
  </p:handoutMasterIdLst>
  <p:sldIdLst>
    <p:sldId id="862" r:id="rId5"/>
    <p:sldId id="1957" r:id="rId6"/>
    <p:sldId id="1958" r:id="rId7"/>
    <p:sldId id="1974" r:id="rId8"/>
    <p:sldId id="1973" r:id="rId9"/>
    <p:sldId id="1977" r:id="rId10"/>
    <p:sldId id="1965" r:id="rId11"/>
    <p:sldId id="1937" r:id="rId12"/>
  </p:sldIdLst>
  <p:sldSz cx="24377650" cy="13716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97" userDrawn="1">
          <p15:clr>
            <a:srgbClr val="A4A3A4"/>
          </p15:clr>
        </p15:guide>
        <p15:guide id="2" pos="77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7095"/>
    <a:srgbClr val="FFC000"/>
    <a:srgbClr val="BDD7EE"/>
    <a:srgbClr val="C00000"/>
    <a:srgbClr val="4E79D0"/>
    <a:srgbClr val="5190CC"/>
    <a:srgbClr val="00B050"/>
    <a:srgbClr val="BFBFBF"/>
    <a:srgbClr val="8EA9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EB44FF-730C-4AD0-B37E-D85D9DA8D33B}" v="1" dt="2019-07-25T21:08:05.2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73" autoAdjust="0"/>
    <p:restoredTop sz="96405" autoAdjust="0"/>
  </p:normalViewPr>
  <p:slideViewPr>
    <p:cSldViewPr snapToGrid="0">
      <p:cViewPr varScale="1">
        <p:scale>
          <a:sx n="56" d="100"/>
          <a:sy n="56" d="100"/>
        </p:scale>
        <p:origin x="72" y="138"/>
      </p:cViewPr>
      <p:guideLst>
        <p:guide orient="horz" pos="4297"/>
        <p:guide pos="77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82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errer, Raphael" userId="7ee0921d-c14f-4c38-bea7-75cbc8483850" providerId="ADAL" clId="{66EB44FF-730C-4AD0-B37E-D85D9DA8D33B}"/>
    <pc:docChg chg="modSld">
      <pc:chgData name="Ferrer, Raphael" userId="7ee0921d-c14f-4c38-bea7-75cbc8483850" providerId="ADAL" clId="{66EB44FF-730C-4AD0-B37E-D85D9DA8D33B}" dt="2019-07-25T21:08:05.220" v="0"/>
      <pc:docMkLst>
        <pc:docMk/>
      </pc:docMkLst>
      <pc:sldChg chg="modTransition">
        <pc:chgData name="Ferrer, Raphael" userId="7ee0921d-c14f-4c38-bea7-75cbc8483850" providerId="ADAL" clId="{66EB44FF-730C-4AD0-B37E-D85D9DA8D33B}" dt="2019-07-25T21:08:05.220" v="0"/>
        <pc:sldMkLst>
          <pc:docMk/>
          <pc:sldMk cId="2142558735" sldId="192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E46C69-C8F1-492E-9316-9AB7C6225AF4}" type="datetimeFigureOut">
              <a:rPr lang="de-DE" smtClean="0"/>
              <a:t>08.08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5E19FD-0356-4E38-81BF-CC2CC5DB7AD8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09093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48B922-56C9-46FC-9595-9C2DEF7C3E2B}" type="datetimeFigureOut">
              <a:rPr lang="de-DE" smtClean="0"/>
              <a:t>08.08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D1544D-F39A-4F55-BC21-9BE909A9BACC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9223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0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035" algn="l" defTabSz="18280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068" algn="l" defTabSz="18280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2103" algn="l" defTabSz="18280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6137" algn="l" defTabSz="18280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0172" algn="l" defTabSz="18280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4207" algn="l" defTabSz="18280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8240" algn="l" defTabSz="18280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2275" algn="l" defTabSz="18280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1544D-F39A-4F55-BC21-9BE909A9BAC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2928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1544D-F39A-4F55-BC21-9BE909A9BAC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3533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1544D-F39A-4F55-BC21-9BE909A9BACC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22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98128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1544D-F39A-4F55-BC21-9BE909A9BAC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42937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g4be6aad6ba_0_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5" name="Google Shape;165;g4be6aad6ba_0_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194402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g4be6aad6ba_0_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5" name="Google Shape;165;g4be6aad6ba_0_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652439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1544D-F39A-4F55-BC21-9BE909A9BAC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915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3015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5249833" cy="13716000"/>
          </a:xfrm>
          <a:custGeom>
            <a:avLst/>
            <a:gdLst>
              <a:gd name="connsiteX0" fmla="*/ 0 w 15249833"/>
              <a:gd name="connsiteY0" fmla="*/ 0 h 13716000"/>
              <a:gd name="connsiteX1" fmla="*/ 6253878 w 15249833"/>
              <a:gd name="connsiteY1" fmla="*/ 0 h 13716000"/>
              <a:gd name="connsiteX2" fmla="*/ 15249833 w 15249833"/>
              <a:gd name="connsiteY2" fmla="*/ 13716000 h 13716000"/>
              <a:gd name="connsiteX3" fmla="*/ 0 w 15249833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49833" h="13716000">
                <a:moveTo>
                  <a:pt x="0" y="0"/>
                </a:moveTo>
                <a:lnTo>
                  <a:pt x="6253878" y="0"/>
                </a:lnTo>
                <a:lnTo>
                  <a:pt x="15249833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16003968" y="4649511"/>
            <a:ext cx="5177994" cy="3089028"/>
          </a:xfrm>
          <a:custGeom>
            <a:avLst/>
            <a:gdLst>
              <a:gd name="connsiteX0" fmla="*/ 0 w 5177994"/>
              <a:gd name="connsiteY0" fmla="*/ 0 h 3089028"/>
              <a:gd name="connsiteX1" fmla="*/ 5177994 w 5177994"/>
              <a:gd name="connsiteY1" fmla="*/ 0 h 3089028"/>
              <a:gd name="connsiteX2" fmla="*/ 5177994 w 5177994"/>
              <a:gd name="connsiteY2" fmla="*/ 3089028 h 3089028"/>
              <a:gd name="connsiteX3" fmla="*/ 0 w 5177994"/>
              <a:gd name="connsiteY3" fmla="*/ 3089028 h 3089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7994" h="3089028">
                <a:moveTo>
                  <a:pt x="0" y="0"/>
                </a:moveTo>
                <a:lnTo>
                  <a:pt x="5177994" y="0"/>
                </a:lnTo>
                <a:lnTo>
                  <a:pt x="5177994" y="3089028"/>
                </a:lnTo>
                <a:lnTo>
                  <a:pt x="0" y="308902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93931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8128480" cy="13716000"/>
          </a:xfrm>
          <a:custGeom>
            <a:avLst/>
            <a:gdLst>
              <a:gd name="connsiteX0" fmla="*/ 0 w 8128480"/>
              <a:gd name="connsiteY0" fmla="*/ 0 h 13716000"/>
              <a:gd name="connsiteX1" fmla="*/ 8128480 w 8128480"/>
              <a:gd name="connsiteY1" fmla="*/ 0 h 13716000"/>
              <a:gd name="connsiteX2" fmla="*/ 8128480 w 8128480"/>
              <a:gd name="connsiteY2" fmla="*/ 13716000 h 13716000"/>
              <a:gd name="connsiteX3" fmla="*/ 0 w 812848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8480" h="13716000">
                <a:moveTo>
                  <a:pt x="0" y="0"/>
                </a:moveTo>
                <a:lnTo>
                  <a:pt x="8128480" y="0"/>
                </a:lnTo>
                <a:lnTo>
                  <a:pt x="8128480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8128480" y="0"/>
            <a:ext cx="8128480" cy="13716000"/>
          </a:xfrm>
          <a:custGeom>
            <a:avLst/>
            <a:gdLst>
              <a:gd name="connsiteX0" fmla="*/ 0 w 8128480"/>
              <a:gd name="connsiteY0" fmla="*/ 0 h 13716000"/>
              <a:gd name="connsiteX1" fmla="*/ 8128480 w 8128480"/>
              <a:gd name="connsiteY1" fmla="*/ 0 h 13716000"/>
              <a:gd name="connsiteX2" fmla="*/ 8128480 w 8128480"/>
              <a:gd name="connsiteY2" fmla="*/ 13716000 h 13716000"/>
              <a:gd name="connsiteX3" fmla="*/ 0 w 812848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8480" h="13716000">
                <a:moveTo>
                  <a:pt x="0" y="0"/>
                </a:moveTo>
                <a:lnTo>
                  <a:pt x="8128480" y="0"/>
                </a:lnTo>
                <a:lnTo>
                  <a:pt x="8128480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16250015" y="0"/>
            <a:ext cx="8146684" cy="13716000"/>
          </a:xfrm>
          <a:custGeom>
            <a:avLst/>
            <a:gdLst>
              <a:gd name="connsiteX0" fmla="*/ 0 w 8146684"/>
              <a:gd name="connsiteY0" fmla="*/ 0 h 13716000"/>
              <a:gd name="connsiteX1" fmla="*/ 8146684 w 8146684"/>
              <a:gd name="connsiteY1" fmla="*/ 0 h 13716000"/>
              <a:gd name="connsiteX2" fmla="*/ 8146684 w 8146684"/>
              <a:gd name="connsiteY2" fmla="*/ 13716000 h 13716000"/>
              <a:gd name="connsiteX3" fmla="*/ 0 w 8146684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46684" h="13716000">
                <a:moveTo>
                  <a:pt x="0" y="0"/>
                </a:moveTo>
                <a:lnTo>
                  <a:pt x="8146684" y="0"/>
                </a:lnTo>
                <a:lnTo>
                  <a:pt x="8146684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08722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8128480" cy="12329652"/>
          </a:xfrm>
          <a:custGeom>
            <a:avLst/>
            <a:gdLst>
              <a:gd name="connsiteX0" fmla="*/ 0 w 8128480"/>
              <a:gd name="connsiteY0" fmla="*/ 0 h 13716000"/>
              <a:gd name="connsiteX1" fmla="*/ 8128480 w 8128480"/>
              <a:gd name="connsiteY1" fmla="*/ 0 h 13716000"/>
              <a:gd name="connsiteX2" fmla="*/ 8128480 w 8128480"/>
              <a:gd name="connsiteY2" fmla="*/ 13716000 h 13716000"/>
              <a:gd name="connsiteX3" fmla="*/ 0 w 812848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8480" h="13716000">
                <a:moveTo>
                  <a:pt x="0" y="0"/>
                </a:moveTo>
                <a:lnTo>
                  <a:pt x="8128480" y="0"/>
                </a:lnTo>
                <a:lnTo>
                  <a:pt x="8128480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8128480" y="0"/>
            <a:ext cx="8128480" cy="12329652"/>
          </a:xfrm>
          <a:custGeom>
            <a:avLst/>
            <a:gdLst>
              <a:gd name="connsiteX0" fmla="*/ 0 w 8128480"/>
              <a:gd name="connsiteY0" fmla="*/ 0 h 13716000"/>
              <a:gd name="connsiteX1" fmla="*/ 8128480 w 8128480"/>
              <a:gd name="connsiteY1" fmla="*/ 0 h 13716000"/>
              <a:gd name="connsiteX2" fmla="*/ 8128480 w 8128480"/>
              <a:gd name="connsiteY2" fmla="*/ 13716000 h 13716000"/>
              <a:gd name="connsiteX3" fmla="*/ 0 w 812848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8480" h="13716000">
                <a:moveTo>
                  <a:pt x="0" y="0"/>
                </a:moveTo>
                <a:lnTo>
                  <a:pt x="8128480" y="0"/>
                </a:lnTo>
                <a:lnTo>
                  <a:pt x="8128480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16250015" y="0"/>
            <a:ext cx="8146684" cy="12329652"/>
          </a:xfrm>
          <a:custGeom>
            <a:avLst/>
            <a:gdLst>
              <a:gd name="connsiteX0" fmla="*/ 0 w 8146684"/>
              <a:gd name="connsiteY0" fmla="*/ 0 h 13716000"/>
              <a:gd name="connsiteX1" fmla="*/ 8146684 w 8146684"/>
              <a:gd name="connsiteY1" fmla="*/ 0 h 13716000"/>
              <a:gd name="connsiteX2" fmla="*/ 8146684 w 8146684"/>
              <a:gd name="connsiteY2" fmla="*/ 13716000 h 13716000"/>
              <a:gd name="connsiteX3" fmla="*/ 0 w 8146684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46684" h="13716000">
                <a:moveTo>
                  <a:pt x="0" y="0"/>
                </a:moveTo>
                <a:lnTo>
                  <a:pt x="8146684" y="0"/>
                </a:lnTo>
                <a:lnTo>
                  <a:pt x="8146684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74477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3174803" y="5246950"/>
            <a:ext cx="2606520" cy="2606520"/>
          </a:xfrm>
          <a:custGeom>
            <a:avLst/>
            <a:gdLst>
              <a:gd name="connsiteX0" fmla="*/ 1303260 w 2606520"/>
              <a:gd name="connsiteY0" fmla="*/ 0 h 2606520"/>
              <a:gd name="connsiteX1" fmla="*/ 2606520 w 2606520"/>
              <a:gd name="connsiteY1" fmla="*/ 0 h 2606520"/>
              <a:gd name="connsiteX2" fmla="*/ 2606520 w 2606520"/>
              <a:gd name="connsiteY2" fmla="*/ 1303260 h 2606520"/>
              <a:gd name="connsiteX3" fmla="*/ 1303260 w 2606520"/>
              <a:gd name="connsiteY3" fmla="*/ 2606520 h 2606520"/>
              <a:gd name="connsiteX4" fmla="*/ 0 w 2606520"/>
              <a:gd name="connsiteY4" fmla="*/ 1303260 h 2606520"/>
              <a:gd name="connsiteX5" fmla="*/ 1303260 w 2606520"/>
              <a:gd name="connsiteY5" fmla="*/ 0 h 2606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06520" h="2606520">
                <a:moveTo>
                  <a:pt x="1303260" y="0"/>
                </a:moveTo>
                <a:lnTo>
                  <a:pt x="2606520" y="0"/>
                </a:lnTo>
                <a:lnTo>
                  <a:pt x="2606520" y="1303260"/>
                </a:lnTo>
                <a:cubicBezTo>
                  <a:pt x="2606520" y="2023031"/>
                  <a:pt x="2023031" y="2606520"/>
                  <a:pt x="1303260" y="2606520"/>
                </a:cubicBezTo>
                <a:cubicBezTo>
                  <a:pt x="583489" y="2606520"/>
                  <a:pt x="0" y="2023031"/>
                  <a:pt x="0" y="1303260"/>
                </a:cubicBezTo>
                <a:cubicBezTo>
                  <a:pt x="0" y="583489"/>
                  <a:pt x="583489" y="0"/>
                  <a:pt x="130326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000"/>
            </a:lvl1pPr>
          </a:lstStyle>
          <a:p>
            <a:endParaRPr lang="de-DE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8131636" y="5246949"/>
            <a:ext cx="2606520" cy="2606520"/>
          </a:xfrm>
          <a:custGeom>
            <a:avLst/>
            <a:gdLst>
              <a:gd name="connsiteX0" fmla="*/ 1303260 w 2606520"/>
              <a:gd name="connsiteY0" fmla="*/ 0 h 2606520"/>
              <a:gd name="connsiteX1" fmla="*/ 2606520 w 2606520"/>
              <a:gd name="connsiteY1" fmla="*/ 0 h 2606520"/>
              <a:gd name="connsiteX2" fmla="*/ 2606520 w 2606520"/>
              <a:gd name="connsiteY2" fmla="*/ 1303260 h 2606520"/>
              <a:gd name="connsiteX3" fmla="*/ 1303260 w 2606520"/>
              <a:gd name="connsiteY3" fmla="*/ 2606520 h 2606520"/>
              <a:gd name="connsiteX4" fmla="*/ 0 w 2606520"/>
              <a:gd name="connsiteY4" fmla="*/ 1303260 h 2606520"/>
              <a:gd name="connsiteX5" fmla="*/ 1303260 w 2606520"/>
              <a:gd name="connsiteY5" fmla="*/ 0 h 2606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06520" h="2606520">
                <a:moveTo>
                  <a:pt x="1303260" y="0"/>
                </a:moveTo>
                <a:lnTo>
                  <a:pt x="2606520" y="0"/>
                </a:lnTo>
                <a:lnTo>
                  <a:pt x="2606520" y="1303260"/>
                </a:lnTo>
                <a:cubicBezTo>
                  <a:pt x="2606520" y="2023031"/>
                  <a:pt x="2023031" y="2606520"/>
                  <a:pt x="1303260" y="2606520"/>
                </a:cubicBezTo>
                <a:cubicBezTo>
                  <a:pt x="583489" y="2606520"/>
                  <a:pt x="0" y="2023031"/>
                  <a:pt x="0" y="1303260"/>
                </a:cubicBezTo>
                <a:cubicBezTo>
                  <a:pt x="0" y="583489"/>
                  <a:pt x="583489" y="0"/>
                  <a:pt x="130326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000"/>
            </a:lvl1pPr>
          </a:lstStyle>
          <a:p>
            <a:endParaRPr lang="de-DE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/>
          </p:nvPr>
        </p:nvSpPr>
        <p:spPr>
          <a:xfrm>
            <a:off x="13249582" y="5246950"/>
            <a:ext cx="2606520" cy="2606520"/>
          </a:xfrm>
          <a:custGeom>
            <a:avLst/>
            <a:gdLst>
              <a:gd name="connsiteX0" fmla="*/ 1303260 w 2606520"/>
              <a:gd name="connsiteY0" fmla="*/ 0 h 2606520"/>
              <a:gd name="connsiteX1" fmla="*/ 2606520 w 2606520"/>
              <a:gd name="connsiteY1" fmla="*/ 0 h 2606520"/>
              <a:gd name="connsiteX2" fmla="*/ 2606520 w 2606520"/>
              <a:gd name="connsiteY2" fmla="*/ 1303260 h 2606520"/>
              <a:gd name="connsiteX3" fmla="*/ 1303260 w 2606520"/>
              <a:gd name="connsiteY3" fmla="*/ 2606520 h 2606520"/>
              <a:gd name="connsiteX4" fmla="*/ 0 w 2606520"/>
              <a:gd name="connsiteY4" fmla="*/ 1303260 h 2606520"/>
              <a:gd name="connsiteX5" fmla="*/ 1303260 w 2606520"/>
              <a:gd name="connsiteY5" fmla="*/ 0 h 2606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06520" h="2606520">
                <a:moveTo>
                  <a:pt x="1303260" y="0"/>
                </a:moveTo>
                <a:lnTo>
                  <a:pt x="2606520" y="0"/>
                </a:lnTo>
                <a:lnTo>
                  <a:pt x="2606520" y="1303260"/>
                </a:lnTo>
                <a:cubicBezTo>
                  <a:pt x="2606520" y="2023031"/>
                  <a:pt x="2023031" y="2606520"/>
                  <a:pt x="1303260" y="2606520"/>
                </a:cubicBezTo>
                <a:cubicBezTo>
                  <a:pt x="583489" y="2606520"/>
                  <a:pt x="0" y="2023031"/>
                  <a:pt x="0" y="1303260"/>
                </a:cubicBezTo>
                <a:cubicBezTo>
                  <a:pt x="0" y="583489"/>
                  <a:pt x="583489" y="0"/>
                  <a:pt x="130326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000"/>
            </a:lvl1pPr>
          </a:lstStyle>
          <a:p>
            <a:endParaRPr lang="de-DE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18254727" y="5246949"/>
            <a:ext cx="2606520" cy="2606520"/>
          </a:xfrm>
          <a:custGeom>
            <a:avLst/>
            <a:gdLst>
              <a:gd name="connsiteX0" fmla="*/ 1303260 w 2606520"/>
              <a:gd name="connsiteY0" fmla="*/ 0 h 2606520"/>
              <a:gd name="connsiteX1" fmla="*/ 2606520 w 2606520"/>
              <a:gd name="connsiteY1" fmla="*/ 0 h 2606520"/>
              <a:gd name="connsiteX2" fmla="*/ 2606520 w 2606520"/>
              <a:gd name="connsiteY2" fmla="*/ 1303260 h 2606520"/>
              <a:gd name="connsiteX3" fmla="*/ 1303260 w 2606520"/>
              <a:gd name="connsiteY3" fmla="*/ 2606520 h 2606520"/>
              <a:gd name="connsiteX4" fmla="*/ 0 w 2606520"/>
              <a:gd name="connsiteY4" fmla="*/ 1303260 h 2606520"/>
              <a:gd name="connsiteX5" fmla="*/ 1303260 w 2606520"/>
              <a:gd name="connsiteY5" fmla="*/ 0 h 2606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06520" h="2606520">
                <a:moveTo>
                  <a:pt x="1303260" y="0"/>
                </a:moveTo>
                <a:lnTo>
                  <a:pt x="2606520" y="0"/>
                </a:lnTo>
                <a:lnTo>
                  <a:pt x="2606520" y="1303260"/>
                </a:lnTo>
                <a:cubicBezTo>
                  <a:pt x="2606520" y="2023031"/>
                  <a:pt x="2023032" y="2606520"/>
                  <a:pt x="1303260" y="2606520"/>
                </a:cubicBezTo>
                <a:cubicBezTo>
                  <a:pt x="583490" y="2606520"/>
                  <a:pt x="0" y="2023031"/>
                  <a:pt x="0" y="1303260"/>
                </a:cubicBezTo>
                <a:cubicBezTo>
                  <a:pt x="0" y="583489"/>
                  <a:pt x="583490" y="0"/>
                  <a:pt x="130326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0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15413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2" y="-5188"/>
            <a:ext cx="4029037" cy="8028311"/>
          </a:xfrm>
          <a:custGeom>
            <a:avLst/>
            <a:gdLst>
              <a:gd name="connsiteX0" fmla="*/ 0 w 4029037"/>
              <a:gd name="connsiteY0" fmla="*/ 0 h 8028311"/>
              <a:gd name="connsiteX1" fmla="*/ 4029037 w 4029037"/>
              <a:gd name="connsiteY1" fmla="*/ 0 h 8028311"/>
              <a:gd name="connsiteX2" fmla="*/ 4029037 w 4029037"/>
              <a:gd name="connsiteY2" fmla="*/ 8028311 h 8028311"/>
              <a:gd name="connsiteX3" fmla="*/ 0 w 4029037"/>
              <a:gd name="connsiteY3" fmla="*/ 8028311 h 802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9037" h="8028311">
                <a:moveTo>
                  <a:pt x="0" y="0"/>
                </a:moveTo>
                <a:lnTo>
                  <a:pt x="4029037" y="0"/>
                </a:lnTo>
                <a:lnTo>
                  <a:pt x="4029037" y="8028311"/>
                </a:lnTo>
                <a:lnTo>
                  <a:pt x="0" y="8028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4062880" y="-5189"/>
            <a:ext cx="4029037" cy="8028244"/>
          </a:xfrm>
          <a:custGeom>
            <a:avLst/>
            <a:gdLst>
              <a:gd name="connsiteX0" fmla="*/ 0 w 4029037"/>
              <a:gd name="connsiteY0" fmla="*/ 0 h 8028244"/>
              <a:gd name="connsiteX1" fmla="*/ 4029037 w 4029037"/>
              <a:gd name="connsiteY1" fmla="*/ 0 h 8028244"/>
              <a:gd name="connsiteX2" fmla="*/ 4029037 w 4029037"/>
              <a:gd name="connsiteY2" fmla="*/ 8028244 h 8028244"/>
              <a:gd name="connsiteX3" fmla="*/ 0 w 4029037"/>
              <a:gd name="connsiteY3" fmla="*/ 8028244 h 8028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9037" h="8028244">
                <a:moveTo>
                  <a:pt x="0" y="0"/>
                </a:moveTo>
                <a:lnTo>
                  <a:pt x="4029037" y="0"/>
                </a:lnTo>
                <a:lnTo>
                  <a:pt x="4029037" y="8028244"/>
                </a:lnTo>
                <a:lnTo>
                  <a:pt x="0" y="802824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2"/>
          </p:nvPr>
        </p:nvSpPr>
        <p:spPr>
          <a:xfrm>
            <a:off x="8125755" y="-5188"/>
            <a:ext cx="4029037" cy="8028311"/>
          </a:xfrm>
          <a:custGeom>
            <a:avLst/>
            <a:gdLst>
              <a:gd name="connsiteX0" fmla="*/ 0 w 4029037"/>
              <a:gd name="connsiteY0" fmla="*/ 0 h 8028311"/>
              <a:gd name="connsiteX1" fmla="*/ 4029037 w 4029037"/>
              <a:gd name="connsiteY1" fmla="*/ 0 h 8028311"/>
              <a:gd name="connsiteX2" fmla="*/ 4029037 w 4029037"/>
              <a:gd name="connsiteY2" fmla="*/ 8028311 h 8028311"/>
              <a:gd name="connsiteX3" fmla="*/ 0 w 4029037"/>
              <a:gd name="connsiteY3" fmla="*/ 8028311 h 802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9037" h="8028311">
                <a:moveTo>
                  <a:pt x="0" y="0"/>
                </a:moveTo>
                <a:lnTo>
                  <a:pt x="4029037" y="0"/>
                </a:lnTo>
                <a:lnTo>
                  <a:pt x="4029037" y="8028311"/>
                </a:lnTo>
                <a:lnTo>
                  <a:pt x="0" y="8028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3"/>
          </p:nvPr>
        </p:nvSpPr>
        <p:spPr>
          <a:xfrm>
            <a:off x="12188630" y="-5188"/>
            <a:ext cx="4029037" cy="8028311"/>
          </a:xfrm>
          <a:custGeom>
            <a:avLst/>
            <a:gdLst>
              <a:gd name="connsiteX0" fmla="*/ 0 w 4029037"/>
              <a:gd name="connsiteY0" fmla="*/ 0 h 8028311"/>
              <a:gd name="connsiteX1" fmla="*/ 4029037 w 4029037"/>
              <a:gd name="connsiteY1" fmla="*/ 0 h 8028311"/>
              <a:gd name="connsiteX2" fmla="*/ 4029037 w 4029037"/>
              <a:gd name="connsiteY2" fmla="*/ 8028311 h 8028311"/>
              <a:gd name="connsiteX3" fmla="*/ 0 w 4029037"/>
              <a:gd name="connsiteY3" fmla="*/ 8028311 h 802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9037" h="8028311">
                <a:moveTo>
                  <a:pt x="0" y="0"/>
                </a:moveTo>
                <a:lnTo>
                  <a:pt x="4029037" y="0"/>
                </a:lnTo>
                <a:lnTo>
                  <a:pt x="4029037" y="8028311"/>
                </a:lnTo>
                <a:lnTo>
                  <a:pt x="0" y="8028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4"/>
          </p:nvPr>
        </p:nvSpPr>
        <p:spPr>
          <a:xfrm>
            <a:off x="16251505" y="-5188"/>
            <a:ext cx="4029037" cy="8028311"/>
          </a:xfrm>
          <a:custGeom>
            <a:avLst/>
            <a:gdLst>
              <a:gd name="connsiteX0" fmla="*/ 0 w 4029037"/>
              <a:gd name="connsiteY0" fmla="*/ 0 h 8028311"/>
              <a:gd name="connsiteX1" fmla="*/ 4029037 w 4029037"/>
              <a:gd name="connsiteY1" fmla="*/ 0 h 8028311"/>
              <a:gd name="connsiteX2" fmla="*/ 4029037 w 4029037"/>
              <a:gd name="connsiteY2" fmla="*/ 8028311 h 8028311"/>
              <a:gd name="connsiteX3" fmla="*/ 0 w 4029037"/>
              <a:gd name="connsiteY3" fmla="*/ 8028311 h 802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9037" h="8028311">
                <a:moveTo>
                  <a:pt x="0" y="0"/>
                </a:moveTo>
                <a:lnTo>
                  <a:pt x="4029037" y="0"/>
                </a:lnTo>
                <a:lnTo>
                  <a:pt x="4029037" y="8028311"/>
                </a:lnTo>
                <a:lnTo>
                  <a:pt x="0" y="8028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5"/>
          </p:nvPr>
        </p:nvSpPr>
        <p:spPr>
          <a:xfrm>
            <a:off x="20314375" y="-5188"/>
            <a:ext cx="4063272" cy="8028311"/>
          </a:xfrm>
          <a:custGeom>
            <a:avLst/>
            <a:gdLst>
              <a:gd name="connsiteX0" fmla="*/ 0 w 4063272"/>
              <a:gd name="connsiteY0" fmla="*/ 0 h 8028311"/>
              <a:gd name="connsiteX1" fmla="*/ 4063272 w 4063272"/>
              <a:gd name="connsiteY1" fmla="*/ 0 h 8028311"/>
              <a:gd name="connsiteX2" fmla="*/ 4063272 w 4063272"/>
              <a:gd name="connsiteY2" fmla="*/ 8028311 h 8028311"/>
              <a:gd name="connsiteX3" fmla="*/ 0 w 4063272"/>
              <a:gd name="connsiteY3" fmla="*/ 8028311 h 802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272" h="8028311">
                <a:moveTo>
                  <a:pt x="0" y="0"/>
                </a:moveTo>
                <a:lnTo>
                  <a:pt x="4063272" y="0"/>
                </a:lnTo>
                <a:lnTo>
                  <a:pt x="4063272" y="8028311"/>
                </a:lnTo>
                <a:lnTo>
                  <a:pt x="0" y="8028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85948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-5188"/>
            <a:ext cx="8091915" cy="8028311"/>
          </a:xfrm>
          <a:custGeom>
            <a:avLst/>
            <a:gdLst>
              <a:gd name="connsiteX0" fmla="*/ 0 w 8091915"/>
              <a:gd name="connsiteY0" fmla="*/ 0 h 8028311"/>
              <a:gd name="connsiteX1" fmla="*/ 8091915 w 8091915"/>
              <a:gd name="connsiteY1" fmla="*/ 0 h 8028311"/>
              <a:gd name="connsiteX2" fmla="*/ 8091915 w 8091915"/>
              <a:gd name="connsiteY2" fmla="*/ 8028311 h 8028311"/>
              <a:gd name="connsiteX3" fmla="*/ 0 w 8091915"/>
              <a:gd name="connsiteY3" fmla="*/ 8028311 h 802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91915" h="8028311">
                <a:moveTo>
                  <a:pt x="0" y="0"/>
                </a:moveTo>
                <a:lnTo>
                  <a:pt x="8091915" y="0"/>
                </a:lnTo>
                <a:lnTo>
                  <a:pt x="8091915" y="8028311"/>
                </a:lnTo>
                <a:lnTo>
                  <a:pt x="0" y="8028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8125754" y="-5188"/>
            <a:ext cx="8091912" cy="8028311"/>
          </a:xfrm>
          <a:custGeom>
            <a:avLst/>
            <a:gdLst>
              <a:gd name="connsiteX0" fmla="*/ 0 w 8091912"/>
              <a:gd name="connsiteY0" fmla="*/ 0 h 8028311"/>
              <a:gd name="connsiteX1" fmla="*/ 8091912 w 8091912"/>
              <a:gd name="connsiteY1" fmla="*/ 0 h 8028311"/>
              <a:gd name="connsiteX2" fmla="*/ 8091912 w 8091912"/>
              <a:gd name="connsiteY2" fmla="*/ 8028311 h 8028311"/>
              <a:gd name="connsiteX3" fmla="*/ 0 w 8091912"/>
              <a:gd name="connsiteY3" fmla="*/ 8028311 h 802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91912" h="8028311">
                <a:moveTo>
                  <a:pt x="0" y="0"/>
                </a:moveTo>
                <a:lnTo>
                  <a:pt x="8091912" y="0"/>
                </a:lnTo>
                <a:lnTo>
                  <a:pt x="8091912" y="8028311"/>
                </a:lnTo>
                <a:lnTo>
                  <a:pt x="0" y="8028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/>
          </p:nvPr>
        </p:nvSpPr>
        <p:spPr>
          <a:xfrm>
            <a:off x="16251505" y="-5188"/>
            <a:ext cx="8112807" cy="8028311"/>
          </a:xfrm>
          <a:custGeom>
            <a:avLst/>
            <a:gdLst>
              <a:gd name="connsiteX0" fmla="*/ 0 w 8112807"/>
              <a:gd name="connsiteY0" fmla="*/ 0 h 8028311"/>
              <a:gd name="connsiteX1" fmla="*/ 8112807 w 8112807"/>
              <a:gd name="connsiteY1" fmla="*/ 0 h 8028311"/>
              <a:gd name="connsiteX2" fmla="*/ 8112807 w 8112807"/>
              <a:gd name="connsiteY2" fmla="*/ 8028311 h 8028311"/>
              <a:gd name="connsiteX3" fmla="*/ 0 w 8112807"/>
              <a:gd name="connsiteY3" fmla="*/ 8028311 h 802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12807" h="8028311">
                <a:moveTo>
                  <a:pt x="0" y="0"/>
                </a:moveTo>
                <a:lnTo>
                  <a:pt x="8112807" y="0"/>
                </a:lnTo>
                <a:lnTo>
                  <a:pt x="8112807" y="8028311"/>
                </a:lnTo>
                <a:lnTo>
                  <a:pt x="0" y="8028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66679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" y="-1"/>
            <a:ext cx="15249833" cy="13716000"/>
          </a:xfrm>
          <a:custGeom>
            <a:avLst/>
            <a:gdLst>
              <a:gd name="connsiteX0" fmla="*/ 0 w 15249833"/>
              <a:gd name="connsiteY0" fmla="*/ 0 h 13716000"/>
              <a:gd name="connsiteX1" fmla="*/ 6253878 w 15249833"/>
              <a:gd name="connsiteY1" fmla="*/ 0 h 13716000"/>
              <a:gd name="connsiteX2" fmla="*/ 15249833 w 15249833"/>
              <a:gd name="connsiteY2" fmla="*/ 13716000 h 13716000"/>
              <a:gd name="connsiteX3" fmla="*/ 0 w 15249833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49833" h="13716000">
                <a:moveTo>
                  <a:pt x="0" y="0"/>
                </a:moveTo>
                <a:lnTo>
                  <a:pt x="6253878" y="0"/>
                </a:lnTo>
                <a:lnTo>
                  <a:pt x="15249833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7649315" y="3326423"/>
            <a:ext cx="3637356" cy="3637356"/>
          </a:xfrm>
          <a:custGeom>
            <a:avLst/>
            <a:gdLst>
              <a:gd name="connsiteX0" fmla="*/ 1818678 w 3637356"/>
              <a:gd name="connsiteY0" fmla="*/ 0 h 3637356"/>
              <a:gd name="connsiteX1" fmla="*/ 3637356 w 3637356"/>
              <a:gd name="connsiteY1" fmla="*/ 1818678 h 3637356"/>
              <a:gd name="connsiteX2" fmla="*/ 1818678 w 3637356"/>
              <a:gd name="connsiteY2" fmla="*/ 3637356 h 3637356"/>
              <a:gd name="connsiteX3" fmla="*/ 0 w 3637356"/>
              <a:gd name="connsiteY3" fmla="*/ 1818678 h 3637356"/>
              <a:gd name="connsiteX4" fmla="*/ 1818678 w 3637356"/>
              <a:gd name="connsiteY4" fmla="*/ 0 h 3637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7356" h="3637356">
                <a:moveTo>
                  <a:pt x="1818678" y="0"/>
                </a:moveTo>
                <a:cubicBezTo>
                  <a:pt x="2823106" y="0"/>
                  <a:pt x="3637356" y="814250"/>
                  <a:pt x="3637356" y="1818678"/>
                </a:cubicBezTo>
                <a:cubicBezTo>
                  <a:pt x="3637356" y="2823106"/>
                  <a:pt x="2823106" y="3637356"/>
                  <a:pt x="1818678" y="3637356"/>
                </a:cubicBezTo>
                <a:cubicBezTo>
                  <a:pt x="814250" y="3637356"/>
                  <a:pt x="0" y="2823106"/>
                  <a:pt x="0" y="1818678"/>
                </a:cubicBezTo>
                <a:cubicBezTo>
                  <a:pt x="0" y="814250"/>
                  <a:pt x="814250" y="0"/>
                  <a:pt x="181867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10497521" y="7599527"/>
            <a:ext cx="3637356" cy="3637356"/>
          </a:xfrm>
          <a:custGeom>
            <a:avLst/>
            <a:gdLst>
              <a:gd name="connsiteX0" fmla="*/ 1818678 w 3637356"/>
              <a:gd name="connsiteY0" fmla="*/ 0 h 3637356"/>
              <a:gd name="connsiteX1" fmla="*/ 3637356 w 3637356"/>
              <a:gd name="connsiteY1" fmla="*/ 1818678 h 3637356"/>
              <a:gd name="connsiteX2" fmla="*/ 1818678 w 3637356"/>
              <a:gd name="connsiteY2" fmla="*/ 3637356 h 3637356"/>
              <a:gd name="connsiteX3" fmla="*/ 0 w 3637356"/>
              <a:gd name="connsiteY3" fmla="*/ 1818678 h 3637356"/>
              <a:gd name="connsiteX4" fmla="*/ 1818678 w 3637356"/>
              <a:gd name="connsiteY4" fmla="*/ 0 h 3637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7356" h="3637356">
                <a:moveTo>
                  <a:pt x="1818678" y="0"/>
                </a:moveTo>
                <a:cubicBezTo>
                  <a:pt x="2823106" y="0"/>
                  <a:pt x="3637356" y="814250"/>
                  <a:pt x="3637356" y="1818678"/>
                </a:cubicBezTo>
                <a:cubicBezTo>
                  <a:pt x="3637356" y="2823106"/>
                  <a:pt x="2823106" y="3637356"/>
                  <a:pt x="1818678" y="3637356"/>
                </a:cubicBezTo>
                <a:cubicBezTo>
                  <a:pt x="814250" y="3637356"/>
                  <a:pt x="0" y="2823106"/>
                  <a:pt x="0" y="1818678"/>
                </a:cubicBezTo>
                <a:cubicBezTo>
                  <a:pt x="0" y="814250"/>
                  <a:pt x="814250" y="0"/>
                  <a:pt x="181867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66486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0350036" y="3326424"/>
            <a:ext cx="3637356" cy="3637356"/>
          </a:xfrm>
          <a:custGeom>
            <a:avLst/>
            <a:gdLst>
              <a:gd name="connsiteX0" fmla="*/ 1818678 w 3637356"/>
              <a:gd name="connsiteY0" fmla="*/ 0 h 3637356"/>
              <a:gd name="connsiteX1" fmla="*/ 3637356 w 3637356"/>
              <a:gd name="connsiteY1" fmla="*/ 1818678 h 3637356"/>
              <a:gd name="connsiteX2" fmla="*/ 1818678 w 3637356"/>
              <a:gd name="connsiteY2" fmla="*/ 3637356 h 3637356"/>
              <a:gd name="connsiteX3" fmla="*/ 0 w 3637356"/>
              <a:gd name="connsiteY3" fmla="*/ 1818678 h 3637356"/>
              <a:gd name="connsiteX4" fmla="*/ 1818678 w 3637356"/>
              <a:gd name="connsiteY4" fmla="*/ 0 h 3637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7356" h="3637356">
                <a:moveTo>
                  <a:pt x="1818678" y="0"/>
                </a:moveTo>
                <a:cubicBezTo>
                  <a:pt x="2823106" y="0"/>
                  <a:pt x="3637356" y="814250"/>
                  <a:pt x="3637356" y="1818678"/>
                </a:cubicBezTo>
                <a:cubicBezTo>
                  <a:pt x="3637356" y="2823106"/>
                  <a:pt x="2823106" y="3637356"/>
                  <a:pt x="1818678" y="3637356"/>
                </a:cubicBezTo>
                <a:cubicBezTo>
                  <a:pt x="814250" y="3637356"/>
                  <a:pt x="0" y="2823106"/>
                  <a:pt x="0" y="1818678"/>
                </a:cubicBezTo>
                <a:cubicBezTo>
                  <a:pt x="0" y="814250"/>
                  <a:pt x="814250" y="0"/>
                  <a:pt x="181867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10350037" y="7599528"/>
            <a:ext cx="3637356" cy="3637356"/>
          </a:xfrm>
          <a:custGeom>
            <a:avLst/>
            <a:gdLst>
              <a:gd name="connsiteX0" fmla="*/ 1818678 w 3637356"/>
              <a:gd name="connsiteY0" fmla="*/ 0 h 3637356"/>
              <a:gd name="connsiteX1" fmla="*/ 3637356 w 3637356"/>
              <a:gd name="connsiteY1" fmla="*/ 1818678 h 3637356"/>
              <a:gd name="connsiteX2" fmla="*/ 1818678 w 3637356"/>
              <a:gd name="connsiteY2" fmla="*/ 3637356 h 3637356"/>
              <a:gd name="connsiteX3" fmla="*/ 0 w 3637356"/>
              <a:gd name="connsiteY3" fmla="*/ 1818678 h 3637356"/>
              <a:gd name="connsiteX4" fmla="*/ 1818678 w 3637356"/>
              <a:gd name="connsiteY4" fmla="*/ 0 h 3637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7356" h="3637356">
                <a:moveTo>
                  <a:pt x="1818678" y="0"/>
                </a:moveTo>
                <a:cubicBezTo>
                  <a:pt x="2823106" y="0"/>
                  <a:pt x="3637356" y="814250"/>
                  <a:pt x="3637356" y="1818678"/>
                </a:cubicBezTo>
                <a:cubicBezTo>
                  <a:pt x="3637356" y="2823106"/>
                  <a:pt x="2823106" y="3637356"/>
                  <a:pt x="1818678" y="3637356"/>
                </a:cubicBezTo>
                <a:cubicBezTo>
                  <a:pt x="814250" y="3637356"/>
                  <a:pt x="0" y="2823106"/>
                  <a:pt x="0" y="1818678"/>
                </a:cubicBezTo>
                <a:cubicBezTo>
                  <a:pt x="0" y="814250"/>
                  <a:pt x="814250" y="0"/>
                  <a:pt x="181867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31063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256501" y="3457931"/>
            <a:ext cx="3812704" cy="3136012"/>
          </a:xfrm>
          <a:custGeom>
            <a:avLst/>
            <a:gdLst>
              <a:gd name="connsiteX0" fmla="*/ 3811322 w 3812704"/>
              <a:gd name="connsiteY0" fmla="*/ 0 h 3136012"/>
              <a:gd name="connsiteX1" fmla="*/ 3812704 w 3812704"/>
              <a:gd name="connsiteY1" fmla="*/ 3134332 h 3136012"/>
              <a:gd name="connsiteX2" fmla="*/ 1382 w 3812704"/>
              <a:gd name="connsiteY2" fmla="*/ 3136012 h 3136012"/>
              <a:gd name="connsiteX3" fmla="*/ 0 w 3812704"/>
              <a:gd name="connsiteY3" fmla="*/ 1680 h 313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2704" h="3136012">
                <a:moveTo>
                  <a:pt x="3811322" y="0"/>
                </a:moveTo>
                <a:lnTo>
                  <a:pt x="3812704" y="3134332"/>
                </a:lnTo>
                <a:lnTo>
                  <a:pt x="1382" y="3136012"/>
                </a:lnTo>
                <a:lnTo>
                  <a:pt x="0" y="168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12894559" y="3457932"/>
            <a:ext cx="3812702" cy="3136012"/>
          </a:xfrm>
          <a:custGeom>
            <a:avLst/>
            <a:gdLst>
              <a:gd name="connsiteX0" fmla="*/ 3811321 w 3812702"/>
              <a:gd name="connsiteY0" fmla="*/ 0 h 3136012"/>
              <a:gd name="connsiteX1" fmla="*/ 3812702 w 3812702"/>
              <a:gd name="connsiteY1" fmla="*/ 3134332 h 3136012"/>
              <a:gd name="connsiteX2" fmla="*/ 1381 w 3812702"/>
              <a:gd name="connsiteY2" fmla="*/ 3136012 h 3136012"/>
              <a:gd name="connsiteX3" fmla="*/ 0 w 3812702"/>
              <a:gd name="connsiteY3" fmla="*/ 1680 h 313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2702" h="3136012">
                <a:moveTo>
                  <a:pt x="3811321" y="0"/>
                </a:moveTo>
                <a:lnTo>
                  <a:pt x="3812702" y="3134332"/>
                </a:lnTo>
                <a:lnTo>
                  <a:pt x="1381" y="3136012"/>
                </a:lnTo>
                <a:lnTo>
                  <a:pt x="0" y="168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/>
          </p:nvPr>
        </p:nvSpPr>
        <p:spPr>
          <a:xfrm>
            <a:off x="2250387" y="8095064"/>
            <a:ext cx="3812704" cy="3136012"/>
          </a:xfrm>
          <a:custGeom>
            <a:avLst/>
            <a:gdLst>
              <a:gd name="connsiteX0" fmla="*/ 3811322 w 3812704"/>
              <a:gd name="connsiteY0" fmla="*/ 0 h 3136012"/>
              <a:gd name="connsiteX1" fmla="*/ 3812704 w 3812704"/>
              <a:gd name="connsiteY1" fmla="*/ 3134332 h 3136012"/>
              <a:gd name="connsiteX2" fmla="*/ 1382 w 3812704"/>
              <a:gd name="connsiteY2" fmla="*/ 3136012 h 3136012"/>
              <a:gd name="connsiteX3" fmla="*/ 0 w 3812704"/>
              <a:gd name="connsiteY3" fmla="*/ 1680 h 313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2704" h="3136012">
                <a:moveTo>
                  <a:pt x="3811322" y="0"/>
                </a:moveTo>
                <a:lnTo>
                  <a:pt x="3812704" y="3134332"/>
                </a:lnTo>
                <a:lnTo>
                  <a:pt x="1382" y="3136012"/>
                </a:lnTo>
                <a:lnTo>
                  <a:pt x="0" y="168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3"/>
          </p:nvPr>
        </p:nvSpPr>
        <p:spPr>
          <a:xfrm>
            <a:off x="12888444" y="8095063"/>
            <a:ext cx="3812702" cy="3136012"/>
          </a:xfrm>
          <a:custGeom>
            <a:avLst/>
            <a:gdLst>
              <a:gd name="connsiteX0" fmla="*/ 3811321 w 3812702"/>
              <a:gd name="connsiteY0" fmla="*/ 0 h 3136012"/>
              <a:gd name="connsiteX1" fmla="*/ 3812702 w 3812702"/>
              <a:gd name="connsiteY1" fmla="*/ 3134332 h 3136012"/>
              <a:gd name="connsiteX2" fmla="*/ 1381 w 3812702"/>
              <a:gd name="connsiteY2" fmla="*/ 3136012 h 3136012"/>
              <a:gd name="connsiteX3" fmla="*/ 0 w 3812702"/>
              <a:gd name="connsiteY3" fmla="*/ 1680 h 313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2702" h="3136012">
                <a:moveTo>
                  <a:pt x="3811321" y="0"/>
                </a:moveTo>
                <a:lnTo>
                  <a:pt x="3812702" y="3134332"/>
                </a:lnTo>
                <a:lnTo>
                  <a:pt x="1381" y="3136012"/>
                </a:lnTo>
                <a:lnTo>
                  <a:pt x="0" y="168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91594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hape 689"/>
          <p:cNvPicPr preferRelativeResize="0"/>
          <p:nvPr/>
        </p:nvPicPr>
        <p:blipFill rotWithShape="1">
          <a:blip r:embed="rId2">
            <a:alphaModFix/>
          </a:blip>
          <a:srcRect l="4792" r="4791"/>
          <a:stretch/>
        </p:blipFill>
        <p:spPr>
          <a:xfrm>
            <a:off x="14737430" y="3587633"/>
            <a:ext cx="7457796" cy="641947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Picture Placeholder 8"/>
          <p:cNvSpPr>
            <a:spLocks noGrp="1"/>
          </p:cNvSpPr>
          <p:nvPr userDrawn="1">
            <p:ph type="pic" sz="quarter" idx="10"/>
          </p:nvPr>
        </p:nvSpPr>
        <p:spPr>
          <a:xfrm>
            <a:off x="-1" y="-1"/>
            <a:ext cx="15249833" cy="13716000"/>
          </a:xfrm>
          <a:custGeom>
            <a:avLst/>
            <a:gdLst>
              <a:gd name="connsiteX0" fmla="*/ 0 w 15249833"/>
              <a:gd name="connsiteY0" fmla="*/ 0 h 13716000"/>
              <a:gd name="connsiteX1" fmla="*/ 6253878 w 15249833"/>
              <a:gd name="connsiteY1" fmla="*/ 0 h 13716000"/>
              <a:gd name="connsiteX2" fmla="*/ 15249833 w 15249833"/>
              <a:gd name="connsiteY2" fmla="*/ 13716000 h 13716000"/>
              <a:gd name="connsiteX3" fmla="*/ 0 w 15249833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49833" h="13716000">
                <a:moveTo>
                  <a:pt x="0" y="0"/>
                </a:moveTo>
                <a:lnTo>
                  <a:pt x="6253878" y="0"/>
                </a:lnTo>
                <a:lnTo>
                  <a:pt x="15249833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15702710" y="4774459"/>
            <a:ext cx="5466718" cy="3385624"/>
          </a:xfrm>
          <a:custGeom>
            <a:avLst/>
            <a:gdLst>
              <a:gd name="connsiteX0" fmla="*/ 0 w 5466718"/>
              <a:gd name="connsiteY0" fmla="*/ 0 h 3385624"/>
              <a:gd name="connsiteX1" fmla="*/ 5466718 w 5466718"/>
              <a:gd name="connsiteY1" fmla="*/ 0 h 3385624"/>
              <a:gd name="connsiteX2" fmla="*/ 5466718 w 5466718"/>
              <a:gd name="connsiteY2" fmla="*/ 3385624 h 3385624"/>
              <a:gd name="connsiteX3" fmla="*/ 0 w 5466718"/>
              <a:gd name="connsiteY3" fmla="*/ 3385624 h 3385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6718" h="3385624">
                <a:moveTo>
                  <a:pt x="0" y="0"/>
                </a:moveTo>
                <a:lnTo>
                  <a:pt x="5466718" y="0"/>
                </a:lnTo>
                <a:lnTo>
                  <a:pt x="5466718" y="3385624"/>
                </a:lnTo>
                <a:lnTo>
                  <a:pt x="0" y="338562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09852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9164243" y="4006375"/>
            <a:ext cx="5889960" cy="5889960"/>
          </a:xfrm>
          <a:custGeom>
            <a:avLst/>
            <a:gdLst>
              <a:gd name="connsiteX0" fmla="*/ 2944980 w 5889960"/>
              <a:gd name="connsiteY0" fmla="*/ 0 h 5889960"/>
              <a:gd name="connsiteX1" fmla="*/ 5889960 w 5889960"/>
              <a:gd name="connsiteY1" fmla="*/ 2944980 h 5889960"/>
              <a:gd name="connsiteX2" fmla="*/ 2944980 w 5889960"/>
              <a:gd name="connsiteY2" fmla="*/ 5889960 h 5889960"/>
              <a:gd name="connsiteX3" fmla="*/ 0 w 5889960"/>
              <a:gd name="connsiteY3" fmla="*/ 2944980 h 5889960"/>
              <a:gd name="connsiteX4" fmla="*/ 2944980 w 5889960"/>
              <a:gd name="connsiteY4" fmla="*/ 0 h 5889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9960" h="5889960">
                <a:moveTo>
                  <a:pt x="2944980" y="0"/>
                </a:moveTo>
                <a:cubicBezTo>
                  <a:pt x="4571448" y="0"/>
                  <a:pt x="5889960" y="1318512"/>
                  <a:pt x="5889960" y="2944980"/>
                </a:cubicBezTo>
                <a:cubicBezTo>
                  <a:pt x="5889960" y="4571448"/>
                  <a:pt x="4571448" y="5889960"/>
                  <a:pt x="2944980" y="5889960"/>
                </a:cubicBezTo>
                <a:cubicBezTo>
                  <a:pt x="1318512" y="5889960"/>
                  <a:pt x="0" y="4571448"/>
                  <a:pt x="0" y="2944980"/>
                </a:cubicBezTo>
                <a:cubicBezTo>
                  <a:pt x="0" y="1318512"/>
                  <a:pt x="1318512" y="0"/>
                  <a:pt x="29449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34479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>
          <a:xfrm>
            <a:off x="-2" y="0"/>
            <a:ext cx="15249834" cy="13716000"/>
          </a:xfrm>
          <a:custGeom>
            <a:avLst/>
            <a:gdLst>
              <a:gd name="connsiteX0" fmla="*/ 0 w 15249834"/>
              <a:gd name="connsiteY0" fmla="*/ 0 h 13716000"/>
              <a:gd name="connsiteX1" fmla="*/ 6253879 w 15249834"/>
              <a:gd name="connsiteY1" fmla="*/ 0 h 13716000"/>
              <a:gd name="connsiteX2" fmla="*/ 15249834 w 15249834"/>
              <a:gd name="connsiteY2" fmla="*/ 13716000 h 13716000"/>
              <a:gd name="connsiteX3" fmla="*/ 0 w 15249834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49834" h="13716000">
                <a:moveTo>
                  <a:pt x="0" y="0"/>
                </a:moveTo>
                <a:lnTo>
                  <a:pt x="6253879" y="0"/>
                </a:lnTo>
                <a:lnTo>
                  <a:pt x="15249834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pic>
        <p:nvPicPr>
          <p:cNvPr id="5" name="Shape 689"/>
          <p:cNvPicPr preferRelativeResize="0"/>
          <p:nvPr/>
        </p:nvPicPr>
        <p:blipFill rotWithShape="1">
          <a:blip r:embed="rId2">
            <a:alphaModFix/>
          </a:blip>
          <a:srcRect l="4792" r="4791"/>
          <a:stretch/>
        </p:blipFill>
        <p:spPr>
          <a:xfrm>
            <a:off x="8452028" y="3971094"/>
            <a:ext cx="7457796" cy="641947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9417307" y="5157919"/>
            <a:ext cx="5466718" cy="3385624"/>
          </a:xfrm>
          <a:custGeom>
            <a:avLst/>
            <a:gdLst>
              <a:gd name="connsiteX0" fmla="*/ 0 w 5466718"/>
              <a:gd name="connsiteY0" fmla="*/ 0 h 3385624"/>
              <a:gd name="connsiteX1" fmla="*/ 5466718 w 5466718"/>
              <a:gd name="connsiteY1" fmla="*/ 0 h 3385624"/>
              <a:gd name="connsiteX2" fmla="*/ 5466718 w 5466718"/>
              <a:gd name="connsiteY2" fmla="*/ 3385624 h 3385624"/>
              <a:gd name="connsiteX3" fmla="*/ 0 w 5466718"/>
              <a:gd name="connsiteY3" fmla="*/ 3385624 h 3385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6718" h="3385624">
                <a:moveTo>
                  <a:pt x="0" y="0"/>
                </a:moveTo>
                <a:lnTo>
                  <a:pt x="5466718" y="0"/>
                </a:lnTo>
                <a:lnTo>
                  <a:pt x="5466718" y="3385624"/>
                </a:lnTo>
                <a:lnTo>
                  <a:pt x="0" y="338562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8173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pe 689"/>
          <p:cNvPicPr preferRelativeResize="0"/>
          <p:nvPr/>
        </p:nvPicPr>
        <p:blipFill rotWithShape="1">
          <a:blip r:embed="rId2">
            <a:alphaModFix/>
          </a:blip>
          <a:srcRect l="4792" r="4791"/>
          <a:stretch/>
        </p:blipFill>
        <p:spPr>
          <a:xfrm>
            <a:off x="8439404" y="2856314"/>
            <a:ext cx="7457796" cy="641947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9404683" y="4043139"/>
            <a:ext cx="5466718" cy="3385624"/>
          </a:xfrm>
          <a:custGeom>
            <a:avLst/>
            <a:gdLst>
              <a:gd name="connsiteX0" fmla="*/ 0 w 5466718"/>
              <a:gd name="connsiteY0" fmla="*/ 0 h 3385624"/>
              <a:gd name="connsiteX1" fmla="*/ 5466718 w 5466718"/>
              <a:gd name="connsiteY1" fmla="*/ 0 h 3385624"/>
              <a:gd name="connsiteX2" fmla="*/ 5466718 w 5466718"/>
              <a:gd name="connsiteY2" fmla="*/ 3385624 h 3385624"/>
              <a:gd name="connsiteX3" fmla="*/ 0 w 5466718"/>
              <a:gd name="connsiteY3" fmla="*/ 3385624 h 3385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6718" h="3385624">
                <a:moveTo>
                  <a:pt x="0" y="0"/>
                </a:moveTo>
                <a:lnTo>
                  <a:pt x="5466718" y="0"/>
                </a:lnTo>
                <a:lnTo>
                  <a:pt x="5466718" y="3385624"/>
                </a:lnTo>
                <a:lnTo>
                  <a:pt x="0" y="338562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46747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404683" y="5223009"/>
            <a:ext cx="5466718" cy="3385624"/>
          </a:xfrm>
          <a:custGeom>
            <a:avLst/>
            <a:gdLst>
              <a:gd name="connsiteX0" fmla="*/ 0 w 5466718"/>
              <a:gd name="connsiteY0" fmla="*/ 0 h 3385624"/>
              <a:gd name="connsiteX1" fmla="*/ 5466718 w 5466718"/>
              <a:gd name="connsiteY1" fmla="*/ 0 h 3385624"/>
              <a:gd name="connsiteX2" fmla="*/ 5466718 w 5466718"/>
              <a:gd name="connsiteY2" fmla="*/ 3385624 h 3385624"/>
              <a:gd name="connsiteX3" fmla="*/ 0 w 5466718"/>
              <a:gd name="connsiteY3" fmla="*/ 3385624 h 3385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6718" h="3385624">
                <a:moveTo>
                  <a:pt x="0" y="0"/>
                </a:moveTo>
                <a:lnTo>
                  <a:pt x="5466718" y="0"/>
                </a:lnTo>
                <a:lnTo>
                  <a:pt x="5466718" y="3385624"/>
                </a:lnTo>
                <a:lnTo>
                  <a:pt x="0" y="338562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77110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610237" y="3605072"/>
            <a:ext cx="5177994" cy="3089028"/>
          </a:xfrm>
          <a:custGeom>
            <a:avLst/>
            <a:gdLst>
              <a:gd name="connsiteX0" fmla="*/ 0 w 5177994"/>
              <a:gd name="connsiteY0" fmla="*/ 0 h 3089028"/>
              <a:gd name="connsiteX1" fmla="*/ 5177994 w 5177994"/>
              <a:gd name="connsiteY1" fmla="*/ 0 h 3089028"/>
              <a:gd name="connsiteX2" fmla="*/ 5177994 w 5177994"/>
              <a:gd name="connsiteY2" fmla="*/ 3089028 h 3089028"/>
              <a:gd name="connsiteX3" fmla="*/ 0 w 5177994"/>
              <a:gd name="connsiteY3" fmla="*/ 3089028 h 3089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7994" h="3089028">
                <a:moveTo>
                  <a:pt x="0" y="0"/>
                </a:moveTo>
                <a:lnTo>
                  <a:pt x="5177994" y="0"/>
                </a:lnTo>
                <a:lnTo>
                  <a:pt x="5177994" y="3089028"/>
                </a:lnTo>
                <a:lnTo>
                  <a:pt x="0" y="308902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38932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769600" y="4343170"/>
            <a:ext cx="2946400" cy="5322180"/>
          </a:xfrm>
          <a:custGeom>
            <a:avLst/>
            <a:gdLst>
              <a:gd name="connsiteX0" fmla="*/ 0 w 2946400"/>
              <a:gd name="connsiteY0" fmla="*/ 0 h 5322180"/>
              <a:gd name="connsiteX1" fmla="*/ 2946400 w 2946400"/>
              <a:gd name="connsiteY1" fmla="*/ 0 h 5322180"/>
              <a:gd name="connsiteX2" fmla="*/ 2946400 w 2946400"/>
              <a:gd name="connsiteY2" fmla="*/ 5322180 h 5322180"/>
              <a:gd name="connsiteX3" fmla="*/ 0 w 2946400"/>
              <a:gd name="connsiteY3" fmla="*/ 5322180 h 5322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6400" h="5322180">
                <a:moveTo>
                  <a:pt x="0" y="0"/>
                </a:moveTo>
                <a:lnTo>
                  <a:pt x="2946400" y="0"/>
                </a:lnTo>
                <a:lnTo>
                  <a:pt x="2946400" y="5322180"/>
                </a:lnTo>
                <a:lnTo>
                  <a:pt x="0" y="532218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1208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ckup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4880456" y="4275601"/>
            <a:ext cx="3712344" cy="4975974"/>
          </a:xfrm>
          <a:custGeom>
            <a:avLst/>
            <a:gdLst>
              <a:gd name="connsiteX0" fmla="*/ 0 w 3712344"/>
              <a:gd name="connsiteY0" fmla="*/ 0 h 4975974"/>
              <a:gd name="connsiteX1" fmla="*/ 3712344 w 3712344"/>
              <a:gd name="connsiteY1" fmla="*/ 0 h 4975974"/>
              <a:gd name="connsiteX2" fmla="*/ 3712344 w 3712344"/>
              <a:gd name="connsiteY2" fmla="*/ 4975974 h 4975974"/>
              <a:gd name="connsiteX3" fmla="*/ 0 w 3712344"/>
              <a:gd name="connsiteY3" fmla="*/ 4975974 h 497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12344" h="4975974">
                <a:moveTo>
                  <a:pt x="0" y="0"/>
                </a:moveTo>
                <a:lnTo>
                  <a:pt x="3712344" y="0"/>
                </a:lnTo>
                <a:lnTo>
                  <a:pt x="3712344" y="4975974"/>
                </a:lnTo>
                <a:lnTo>
                  <a:pt x="0" y="497597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-1" y="-1"/>
            <a:ext cx="15249833" cy="13716000"/>
          </a:xfrm>
          <a:custGeom>
            <a:avLst/>
            <a:gdLst>
              <a:gd name="connsiteX0" fmla="*/ 0 w 15249833"/>
              <a:gd name="connsiteY0" fmla="*/ 0 h 13716000"/>
              <a:gd name="connsiteX1" fmla="*/ 6253878 w 15249833"/>
              <a:gd name="connsiteY1" fmla="*/ 0 h 13716000"/>
              <a:gd name="connsiteX2" fmla="*/ 15249833 w 15249833"/>
              <a:gd name="connsiteY2" fmla="*/ 13716000 h 13716000"/>
              <a:gd name="connsiteX3" fmla="*/ 0 w 15249833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49833" h="13716000">
                <a:moveTo>
                  <a:pt x="0" y="0"/>
                </a:moveTo>
                <a:lnTo>
                  <a:pt x="6253878" y="0"/>
                </a:lnTo>
                <a:lnTo>
                  <a:pt x="15249833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28354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934700" y="3694467"/>
            <a:ext cx="2628900" cy="3526783"/>
          </a:xfrm>
          <a:custGeom>
            <a:avLst/>
            <a:gdLst>
              <a:gd name="connsiteX0" fmla="*/ 0 w 2628900"/>
              <a:gd name="connsiteY0" fmla="*/ 0 h 3526783"/>
              <a:gd name="connsiteX1" fmla="*/ 2628900 w 2628900"/>
              <a:gd name="connsiteY1" fmla="*/ 0 h 3526783"/>
              <a:gd name="connsiteX2" fmla="*/ 2628900 w 2628900"/>
              <a:gd name="connsiteY2" fmla="*/ 3526783 h 3526783"/>
              <a:gd name="connsiteX3" fmla="*/ 0 w 2628900"/>
              <a:gd name="connsiteY3" fmla="*/ 3526783 h 3526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8900" h="3526783">
                <a:moveTo>
                  <a:pt x="0" y="0"/>
                </a:moveTo>
                <a:lnTo>
                  <a:pt x="2628900" y="0"/>
                </a:lnTo>
                <a:lnTo>
                  <a:pt x="2628900" y="3526783"/>
                </a:lnTo>
                <a:lnTo>
                  <a:pt x="0" y="352678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59529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-1" y="-1"/>
            <a:ext cx="15249833" cy="13716000"/>
          </a:xfrm>
          <a:custGeom>
            <a:avLst/>
            <a:gdLst>
              <a:gd name="connsiteX0" fmla="*/ 0 w 15249833"/>
              <a:gd name="connsiteY0" fmla="*/ 0 h 13716000"/>
              <a:gd name="connsiteX1" fmla="*/ 6253878 w 15249833"/>
              <a:gd name="connsiteY1" fmla="*/ 0 h 13716000"/>
              <a:gd name="connsiteX2" fmla="*/ 15249833 w 15249833"/>
              <a:gd name="connsiteY2" fmla="*/ 13716000 h 13716000"/>
              <a:gd name="connsiteX3" fmla="*/ 0 w 15249833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49833" h="13716000">
                <a:moveTo>
                  <a:pt x="0" y="0"/>
                </a:moveTo>
                <a:lnTo>
                  <a:pt x="6253878" y="0"/>
                </a:lnTo>
                <a:lnTo>
                  <a:pt x="15249833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7703800" y="4991101"/>
            <a:ext cx="1305548" cy="3958082"/>
          </a:xfrm>
          <a:custGeom>
            <a:avLst/>
            <a:gdLst>
              <a:gd name="connsiteX0" fmla="*/ 0 w 2232361"/>
              <a:gd name="connsiteY0" fmla="*/ 0 h 3958082"/>
              <a:gd name="connsiteX1" fmla="*/ 2232361 w 2232361"/>
              <a:gd name="connsiteY1" fmla="*/ 0 h 3958082"/>
              <a:gd name="connsiteX2" fmla="*/ 2232361 w 2232361"/>
              <a:gd name="connsiteY2" fmla="*/ 3958082 h 3958082"/>
              <a:gd name="connsiteX3" fmla="*/ 0 w 2232361"/>
              <a:gd name="connsiteY3" fmla="*/ 3958082 h 395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361" h="3958082">
                <a:moveTo>
                  <a:pt x="0" y="0"/>
                </a:moveTo>
                <a:lnTo>
                  <a:pt x="2232361" y="0"/>
                </a:lnTo>
                <a:lnTo>
                  <a:pt x="2232361" y="3958082"/>
                </a:lnTo>
                <a:lnTo>
                  <a:pt x="0" y="395808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4833599" y="4593083"/>
            <a:ext cx="2667000" cy="4728717"/>
          </a:xfrm>
          <a:custGeom>
            <a:avLst/>
            <a:gdLst>
              <a:gd name="connsiteX0" fmla="*/ 0 w 2667000"/>
              <a:gd name="connsiteY0" fmla="*/ 0 h 4728717"/>
              <a:gd name="connsiteX1" fmla="*/ 2667000 w 2667000"/>
              <a:gd name="connsiteY1" fmla="*/ 0 h 4728717"/>
              <a:gd name="connsiteX2" fmla="*/ 2667000 w 2667000"/>
              <a:gd name="connsiteY2" fmla="*/ 4728717 h 4728717"/>
              <a:gd name="connsiteX3" fmla="*/ 0 w 2667000"/>
              <a:gd name="connsiteY3" fmla="*/ 4728717 h 4728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7000" h="4728717">
                <a:moveTo>
                  <a:pt x="0" y="0"/>
                </a:moveTo>
                <a:lnTo>
                  <a:pt x="2667000" y="0"/>
                </a:lnTo>
                <a:lnTo>
                  <a:pt x="2667000" y="4728717"/>
                </a:lnTo>
                <a:lnTo>
                  <a:pt x="0" y="472871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4936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7" descr="iPhone6_mockup_front_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4134" y="3172638"/>
            <a:ext cx="2989272" cy="4675773"/>
          </a:xfrm>
          <a:prstGeom prst="rect">
            <a:avLst/>
          </a:prstGeom>
        </p:spPr>
      </p:pic>
      <p:pic>
        <p:nvPicPr>
          <p:cNvPr id="4" name="Picture 87" descr="iPhone6_mockup_front_white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388" y="2745201"/>
            <a:ext cx="3535803" cy="5530646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2674600" y="3916930"/>
            <a:ext cx="1046206" cy="3171824"/>
          </a:xfrm>
          <a:custGeom>
            <a:avLst/>
            <a:gdLst>
              <a:gd name="connsiteX0" fmla="*/ 0 w 2232361"/>
              <a:gd name="connsiteY0" fmla="*/ 0 h 3958082"/>
              <a:gd name="connsiteX1" fmla="*/ 2232361 w 2232361"/>
              <a:gd name="connsiteY1" fmla="*/ 0 h 3958082"/>
              <a:gd name="connsiteX2" fmla="*/ 2232361 w 2232361"/>
              <a:gd name="connsiteY2" fmla="*/ 3958082 h 3958082"/>
              <a:gd name="connsiteX3" fmla="*/ 0 w 2232361"/>
              <a:gd name="connsiteY3" fmla="*/ 3958082 h 395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361" h="3958082">
                <a:moveTo>
                  <a:pt x="0" y="0"/>
                </a:moveTo>
                <a:lnTo>
                  <a:pt x="2232361" y="0"/>
                </a:lnTo>
                <a:lnTo>
                  <a:pt x="2232361" y="3958082"/>
                </a:lnTo>
                <a:lnTo>
                  <a:pt x="0" y="395808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0442574" y="3631058"/>
            <a:ext cx="2111376" cy="3743569"/>
          </a:xfrm>
          <a:custGeom>
            <a:avLst/>
            <a:gdLst>
              <a:gd name="connsiteX0" fmla="*/ 0 w 2667000"/>
              <a:gd name="connsiteY0" fmla="*/ 0 h 4728717"/>
              <a:gd name="connsiteX1" fmla="*/ 2667000 w 2667000"/>
              <a:gd name="connsiteY1" fmla="*/ 0 h 4728717"/>
              <a:gd name="connsiteX2" fmla="*/ 2667000 w 2667000"/>
              <a:gd name="connsiteY2" fmla="*/ 4728717 h 4728717"/>
              <a:gd name="connsiteX3" fmla="*/ 0 w 2667000"/>
              <a:gd name="connsiteY3" fmla="*/ 4728717 h 4728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7000" h="4728717">
                <a:moveTo>
                  <a:pt x="0" y="0"/>
                </a:moveTo>
                <a:lnTo>
                  <a:pt x="2667000" y="0"/>
                </a:lnTo>
                <a:lnTo>
                  <a:pt x="2667000" y="4728717"/>
                </a:lnTo>
                <a:lnTo>
                  <a:pt x="0" y="472871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07906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9536902" y="3400351"/>
            <a:ext cx="5223472" cy="3146511"/>
          </a:xfrm>
          <a:custGeom>
            <a:avLst/>
            <a:gdLst>
              <a:gd name="connsiteX0" fmla="*/ 0 w 5223472"/>
              <a:gd name="connsiteY0" fmla="*/ 0 h 3146511"/>
              <a:gd name="connsiteX1" fmla="*/ 5223472 w 5223472"/>
              <a:gd name="connsiteY1" fmla="*/ 0 h 3146511"/>
              <a:gd name="connsiteX2" fmla="*/ 5223472 w 5223472"/>
              <a:gd name="connsiteY2" fmla="*/ 3146511 h 3146511"/>
              <a:gd name="connsiteX3" fmla="*/ 0 w 5223472"/>
              <a:gd name="connsiteY3" fmla="*/ 3146511 h 3146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3472" h="3146511">
                <a:moveTo>
                  <a:pt x="0" y="0"/>
                </a:moveTo>
                <a:lnTo>
                  <a:pt x="5223472" y="0"/>
                </a:lnTo>
                <a:lnTo>
                  <a:pt x="5223472" y="3146511"/>
                </a:lnTo>
                <a:lnTo>
                  <a:pt x="0" y="31465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6184912" y="3987988"/>
            <a:ext cx="3051658" cy="2361481"/>
          </a:xfrm>
          <a:custGeom>
            <a:avLst/>
            <a:gdLst>
              <a:gd name="connsiteX0" fmla="*/ 0 w 3051658"/>
              <a:gd name="connsiteY0" fmla="*/ 0 h 2361481"/>
              <a:gd name="connsiteX1" fmla="*/ 3051658 w 3051658"/>
              <a:gd name="connsiteY1" fmla="*/ 0 h 2361481"/>
              <a:gd name="connsiteX2" fmla="*/ 3051658 w 3051658"/>
              <a:gd name="connsiteY2" fmla="*/ 2361481 h 2361481"/>
              <a:gd name="connsiteX3" fmla="*/ 0 w 3051658"/>
              <a:gd name="connsiteY3" fmla="*/ 2361481 h 2361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1658" h="2361481">
                <a:moveTo>
                  <a:pt x="0" y="0"/>
                </a:moveTo>
                <a:lnTo>
                  <a:pt x="3051658" y="0"/>
                </a:lnTo>
                <a:lnTo>
                  <a:pt x="3051658" y="2361481"/>
                </a:lnTo>
                <a:lnTo>
                  <a:pt x="0" y="23614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15060705" y="3987988"/>
            <a:ext cx="3038018" cy="2361481"/>
          </a:xfrm>
          <a:custGeom>
            <a:avLst/>
            <a:gdLst>
              <a:gd name="connsiteX0" fmla="*/ 0 w 3038018"/>
              <a:gd name="connsiteY0" fmla="*/ 0 h 2361481"/>
              <a:gd name="connsiteX1" fmla="*/ 3038018 w 3038018"/>
              <a:gd name="connsiteY1" fmla="*/ 0 h 2361481"/>
              <a:gd name="connsiteX2" fmla="*/ 3038018 w 3038018"/>
              <a:gd name="connsiteY2" fmla="*/ 2361481 h 2361481"/>
              <a:gd name="connsiteX3" fmla="*/ 0 w 3038018"/>
              <a:gd name="connsiteY3" fmla="*/ 2361481 h 2361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38018" h="2361481">
                <a:moveTo>
                  <a:pt x="0" y="0"/>
                </a:moveTo>
                <a:lnTo>
                  <a:pt x="3038018" y="0"/>
                </a:lnTo>
                <a:lnTo>
                  <a:pt x="3038018" y="2361481"/>
                </a:lnTo>
                <a:lnTo>
                  <a:pt x="0" y="23614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11996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2709553" y="4271848"/>
            <a:ext cx="5889960" cy="5889960"/>
          </a:xfrm>
          <a:custGeom>
            <a:avLst/>
            <a:gdLst>
              <a:gd name="connsiteX0" fmla="*/ 2944980 w 5889960"/>
              <a:gd name="connsiteY0" fmla="*/ 0 h 5889960"/>
              <a:gd name="connsiteX1" fmla="*/ 5889960 w 5889960"/>
              <a:gd name="connsiteY1" fmla="*/ 2944980 h 5889960"/>
              <a:gd name="connsiteX2" fmla="*/ 2944980 w 5889960"/>
              <a:gd name="connsiteY2" fmla="*/ 5889960 h 5889960"/>
              <a:gd name="connsiteX3" fmla="*/ 0 w 5889960"/>
              <a:gd name="connsiteY3" fmla="*/ 2944980 h 5889960"/>
              <a:gd name="connsiteX4" fmla="*/ 2944980 w 5889960"/>
              <a:gd name="connsiteY4" fmla="*/ 0 h 5889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9960" h="5889960">
                <a:moveTo>
                  <a:pt x="2944980" y="0"/>
                </a:moveTo>
                <a:cubicBezTo>
                  <a:pt x="4571448" y="0"/>
                  <a:pt x="5889960" y="1318512"/>
                  <a:pt x="5889960" y="2944980"/>
                </a:cubicBezTo>
                <a:cubicBezTo>
                  <a:pt x="5889960" y="4571448"/>
                  <a:pt x="4571448" y="5889960"/>
                  <a:pt x="2944980" y="5889960"/>
                </a:cubicBezTo>
                <a:cubicBezTo>
                  <a:pt x="1318512" y="5889960"/>
                  <a:pt x="0" y="4571448"/>
                  <a:pt x="0" y="2944980"/>
                </a:cubicBezTo>
                <a:cubicBezTo>
                  <a:pt x="0" y="1318512"/>
                  <a:pt x="1318512" y="0"/>
                  <a:pt x="294498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06227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9536902" y="4462236"/>
            <a:ext cx="5223472" cy="3146511"/>
          </a:xfrm>
          <a:custGeom>
            <a:avLst/>
            <a:gdLst>
              <a:gd name="connsiteX0" fmla="*/ 0 w 5223472"/>
              <a:gd name="connsiteY0" fmla="*/ 0 h 3146511"/>
              <a:gd name="connsiteX1" fmla="*/ 5223472 w 5223472"/>
              <a:gd name="connsiteY1" fmla="*/ 0 h 3146511"/>
              <a:gd name="connsiteX2" fmla="*/ 5223472 w 5223472"/>
              <a:gd name="connsiteY2" fmla="*/ 3146511 h 3146511"/>
              <a:gd name="connsiteX3" fmla="*/ 0 w 5223472"/>
              <a:gd name="connsiteY3" fmla="*/ 3146511 h 3146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3472" h="3146511">
                <a:moveTo>
                  <a:pt x="0" y="0"/>
                </a:moveTo>
                <a:lnTo>
                  <a:pt x="5223472" y="0"/>
                </a:lnTo>
                <a:lnTo>
                  <a:pt x="5223472" y="3146511"/>
                </a:lnTo>
                <a:lnTo>
                  <a:pt x="0" y="31465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6184912" y="5049873"/>
            <a:ext cx="3051658" cy="2361481"/>
          </a:xfrm>
          <a:custGeom>
            <a:avLst/>
            <a:gdLst>
              <a:gd name="connsiteX0" fmla="*/ 0 w 3051658"/>
              <a:gd name="connsiteY0" fmla="*/ 0 h 2361481"/>
              <a:gd name="connsiteX1" fmla="*/ 3051658 w 3051658"/>
              <a:gd name="connsiteY1" fmla="*/ 0 h 2361481"/>
              <a:gd name="connsiteX2" fmla="*/ 3051658 w 3051658"/>
              <a:gd name="connsiteY2" fmla="*/ 2361481 h 2361481"/>
              <a:gd name="connsiteX3" fmla="*/ 0 w 3051658"/>
              <a:gd name="connsiteY3" fmla="*/ 2361481 h 2361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1658" h="2361481">
                <a:moveTo>
                  <a:pt x="0" y="0"/>
                </a:moveTo>
                <a:lnTo>
                  <a:pt x="3051658" y="0"/>
                </a:lnTo>
                <a:lnTo>
                  <a:pt x="3051658" y="2361481"/>
                </a:lnTo>
                <a:lnTo>
                  <a:pt x="0" y="23614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15060705" y="5049873"/>
            <a:ext cx="3038018" cy="2361481"/>
          </a:xfrm>
          <a:custGeom>
            <a:avLst/>
            <a:gdLst>
              <a:gd name="connsiteX0" fmla="*/ 0 w 3038018"/>
              <a:gd name="connsiteY0" fmla="*/ 0 h 2361481"/>
              <a:gd name="connsiteX1" fmla="*/ 3038018 w 3038018"/>
              <a:gd name="connsiteY1" fmla="*/ 0 h 2361481"/>
              <a:gd name="connsiteX2" fmla="*/ 3038018 w 3038018"/>
              <a:gd name="connsiteY2" fmla="*/ 2361481 h 2361481"/>
              <a:gd name="connsiteX3" fmla="*/ 0 w 3038018"/>
              <a:gd name="connsiteY3" fmla="*/ 2361481 h 2361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38018" h="2361481">
                <a:moveTo>
                  <a:pt x="0" y="0"/>
                </a:moveTo>
                <a:lnTo>
                  <a:pt x="3038018" y="0"/>
                </a:lnTo>
                <a:lnTo>
                  <a:pt x="3038018" y="2361481"/>
                </a:lnTo>
                <a:lnTo>
                  <a:pt x="0" y="23614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43618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502594" y="3196119"/>
            <a:ext cx="3754304" cy="2261514"/>
          </a:xfrm>
          <a:custGeom>
            <a:avLst/>
            <a:gdLst>
              <a:gd name="connsiteX0" fmla="*/ 0 w 3754304"/>
              <a:gd name="connsiteY0" fmla="*/ 0 h 2261514"/>
              <a:gd name="connsiteX1" fmla="*/ 3754304 w 3754304"/>
              <a:gd name="connsiteY1" fmla="*/ 0 h 2261514"/>
              <a:gd name="connsiteX2" fmla="*/ 3754304 w 3754304"/>
              <a:gd name="connsiteY2" fmla="*/ 2261514 h 2261514"/>
              <a:gd name="connsiteX3" fmla="*/ 0 w 3754304"/>
              <a:gd name="connsiteY3" fmla="*/ 2261514 h 226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54304" h="2261514">
                <a:moveTo>
                  <a:pt x="0" y="0"/>
                </a:moveTo>
                <a:lnTo>
                  <a:pt x="3754304" y="0"/>
                </a:lnTo>
                <a:lnTo>
                  <a:pt x="3754304" y="2261514"/>
                </a:lnTo>
                <a:lnTo>
                  <a:pt x="0" y="226151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6502345" y="8083523"/>
            <a:ext cx="3766324" cy="2337268"/>
          </a:xfrm>
          <a:custGeom>
            <a:avLst/>
            <a:gdLst>
              <a:gd name="connsiteX0" fmla="*/ 0 w 3766324"/>
              <a:gd name="connsiteY0" fmla="*/ 0 h 2337268"/>
              <a:gd name="connsiteX1" fmla="*/ 3766324 w 3766324"/>
              <a:gd name="connsiteY1" fmla="*/ 0 h 2337268"/>
              <a:gd name="connsiteX2" fmla="*/ 3766324 w 3766324"/>
              <a:gd name="connsiteY2" fmla="*/ 2337268 h 2337268"/>
              <a:gd name="connsiteX3" fmla="*/ 0 w 3766324"/>
              <a:gd name="connsiteY3" fmla="*/ 2337268 h 2337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6324" h="2337268">
                <a:moveTo>
                  <a:pt x="0" y="0"/>
                </a:moveTo>
                <a:lnTo>
                  <a:pt x="3766324" y="0"/>
                </a:lnTo>
                <a:lnTo>
                  <a:pt x="3766324" y="2337268"/>
                </a:lnTo>
                <a:lnTo>
                  <a:pt x="0" y="233726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94588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8128480" cy="13716000"/>
          </a:xfrm>
          <a:custGeom>
            <a:avLst/>
            <a:gdLst>
              <a:gd name="connsiteX0" fmla="*/ 0 w 8128480"/>
              <a:gd name="connsiteY0" fmla="*/ 0 h 13716000"/>
              <a:gd name="connsiteX1" fmla="*/ 8128480 w 8128480"/>
              <a:gd name="connsiteY1" fmla="*/ 0 h 13716000"/>
              <a:gd name="connsiteX2" fmla="*/ 8128480 w 8128480"/>
              <a:gd name="connsiteY2" fmla="*/ 13716000 h 13716000"/>
              <a:gd name="connsiteX3" fmla="*/ 0 w 812848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8480" h="13716000">
                <a:moveTo>
                  <a:pt x="0" y="0"/>
                </a:moveTo>
                <a:lnTo>
                  <a:pt x="8128480" y="0"/>
                </a:lnTo>
                <a:lnTo>
                  <a:pt x="8128480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8128480" y="0"/>
            <a:ext cx="8128480" cy="13716000"/>
          </a:xfrm>
          <a:custGeom>
            <a:avLst/>
            <a:gdLst>
              <a:gd name="connsiteX0" fmla="*/ 0 w 8128480"/>
              <a:gd name="connsiteY0" fmla="*/ 0 h 13716000"/>
              <a:gd name="connsiteX1" fmla="*/ 8128480 w 8128480"/>
              <a:gd name="connsiteY1" fmla="*/ 0 h 13716000"/>
              <a:gd name="connsiteX2" fmla="*/ 8128480 w 8128480"/>
              <a:gd name="connsiteY2" fmla="*/ 13716000 h 13716000"/>
              <a:gd name="connsiteX3" fmla="*/ 0 w 812848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8480" h="13716000">
                <a:moveTo>
                  <a:pt x="0" y="0"/>
                </a:moveTo>
                <a:lnTo>
                  <a:pt x="8128480" y="0"/>
                </a:lnTo>
                <a:lnTo>
                  <a:pt x="8128480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/>
          </p:nvPr>
        </p:nvSpPr>
        <p:spPr>
          <a:xfrm>
            <a:off x="16250015" y="0"/>
            <a:ext cx="8146684" cy="13716000"/>
          </a:xfrm>
          <a:custGeom>
            <a:avLst/>
            <a:gdLst>
              <a:gd name="connsiteX0" fmla="*/ 0 w 8146684"/>
              <a:gd name="connsiteY0" fmla="*/ 0 h 13716000"/>
              <a:gd name="connsiteX1" fmla="*/ 8146684 w 8146684"/>
              <a:gd name="connsiteY1" fmla="*/ 0 h 13716000"/>
              <a:gd name="connsiteX2" fmla="*/ 8146684 w 8146684"/>
              <a:gd name="connsiteY2" fmla="*/ 13716000 h 13716000"/>
              <a:gd name="connsiteX3" fmla="*/ 0 w 8146684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46684" h="13716000">
                <a:moveTo>
                  <a:pt x="0" y="0"/>
                </a:moveTo>
                <a:lnTo>
                  <a:pt x="8146684" y="0"/>
                </a:lnTo>
                <a:lnTo>
                  <a:pt x="8146684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3" name="Picture Placeholder 12"/>
          <p:cNvSpPr>
            <a:spLocks noGrp="1"/>
          </p:cNvSpPr>
          <p:nvPr userDrawn="1">
            <p:ph type="pic" sz="quarter" idx="13"/>
          </p:nvPr>
        </p:nvSpPr>
        <p:spPr>
          <a:xfrm>
            <a:off x="10891158" y="2431298"/>
            <a:ext cx="2628900" cy="3526783"/>
          </a:xfrm>
          <a:custGeom>
            <a:avLst/>
            <a:gdLst>
              <a:gd name="connsiteX0" fmla="*/ 0 w 2628900"/>
              <a:gd name="connsiteY0" fmla="*/ 0 h 3526783"/>
              <a:gd name="connsiteX1" fmla="*/ 2628900 w 2628900"/>
              <a:gd name="connsiteY1" fmla="*/ 0 h 3526783"/>
              <a:gd name="connsiteX2" fmla="*/ 2628900 w 2628900"/>
              <a:gd name="connsiteY2" fmla="*/ 3526783 h 3526783"/>
              <a:gd name="connsiteX3" fmla="*/ 0 w 2628900"/>
              <a:gd name="connsiteY3" fmla="*/ 3526783 h 3526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8900" h="3526783">
                <a:moveTo>
                  <a:pt x="0" y="0"/>
                </a:moveTo>
                <a:lnTo>
                  <a:pt x="2628900" y="0"/>
                </a:lnTo>
                <a:lnTo>
                  <a:pt x="2628900" y="3526783"/>
                </a:lnTo>
                <a:lnTo>
                  <a:pt x="0" y="352678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2334831" y="2839861"/>
            <a:ext cx="3436078" cy="2069821"/>
          </a:xfrm>
          <a:custGeom>
            <a:avLst/>
            <a:gdLst>
              <a:gd name="connsiteX0" fmla="*/ 0 w 3436078"/>
              <a:gd name="connsiteY0" fmla="*/ 0 h 2069821"/>
              <a:gd name="connsiteX1" fmla="*/ 3436078 w 3436078"/>
              <a:gd name="connsiteY1" fmla="*/ 0 h 2069821"/>
              <a:gd name="connsiteX2" fmla="*/ 3436078 w 3436078"/>
              <a:gd name="connsiteY2" fmla="*/ 2069821 h 2069821"/>
              <a:gd name="connsiteX3" fmla="*/ 0 w 3436078"/>
              <a:gd name="connsiteY3" fmla="*/ 2069821 h 206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6078" h="2069821">
                <a:moveTo>
                  <a:pt x="0" y="0"/>
                </a:moveTo>
                <a:lnTo>
                  <a:pt x="3436078" y="0"/>
                </a:lnTo>
                <a:lnTo>
                  <a:pt x="3436078" y="2069821"/>
                </a:lnTo>
                <a:lnTo>
                  <a:pt x="0" y="206982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5"/>
          </p:nvPr>
        </p:nvSpPr>
        <p:spPr>
          <a:xfrm>
            <a:off x="18551035" y="2839090"/>
            <a:ext cx="3766324" cy="2337268"/>
          </a:xfrm>
          <a:custGeom>
            <a:avLst/>
            <a:gdLst>
              <a:gd name="connsiteX0" fmla="*/ 0 w 3766324"/>
              <a:gd name="connsiteY0" fmla="*/ 0 h 2337268"/>
              <a:gd name="connsiteX1" fmla="*/ 3766324 w 3766324"/>
              <a:gd name="connsiteY1" fmla="*/ 0 h 2337268"/>
              <a:gd name="connsiteX2" fmla="*/ 3766324 w 3766324"/>
              <a:gd name="connsiteY2" fmla="*/ 2337268 h 2337268"/>
              <a:gd name="connsiteX3" fmla="*/ 0 w 3766324"/>
              <a:gd name="connsiteY3" fmla="*/ 2337268 h 2337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6324" h="2337268">
                <a:moveTo>
                  <a:pt x="0" y="0"/>
                </a:moveTo>
                <a:lnTo>
                  <a:pt x="3766324" y="0"/>
                </a:lnTo>
                <a:lnTo>
                  <a:pt x="3766324" y="2337268"/>
                </a:lnTo>
                <a:lnTo>
                  <a:pt x="0" y="233726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25671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344664" y="4376633"/>
            <a:ext cx="3436078" cy="2069821"/>
          </a:xfrm>
          <a:custGeom>
            <a:avLst/>
            <a:gdLst>
              <a:gd name="connsiteX0" fmla="*/ 0 w 3436078"/>
              <a:gd name="connsiteY0" fmla="*/ 0 h 2069821"/>
              <a:gd name="connsiteX1" fmla="*/ 3436078 w 3436078"/>
              <a:gd name="connsiteY1" fmla="*/ 0 h 2069821"/>
              <a:gd name="connsiteX2" fmla="*/ 3436078 w 3436078"/>
              <a:gd name="connsiteY2" fmla="*/ 2069821 h 2069821"/>
              <a:gd name="connsiteX3" fmla="*/ 0 w 3436078"/>
              <a:gd name="connsiteY3" fmla="*/ 2069821 h 206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36078" h="2069821">
                <a:moveTo>
                  <a:pt x="0" y="0"/>
                </a:moveTo>
                <a:lnTo>
                  <a:pt x="3436078" y="0"/>
                </a:lnTo>
                <a:lnTo>
                  <a:pt x="3436078" y="2069821"/>
                </a:lnTo>
                <a:lnTo>
                  <a:pt x="0" y="206982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15233389" y="4406398"/>
            <a:ext cx="3766324" cy="2337268"/>
          </a:xfrm>
          <a:custGeom>
            <a:avLst/>
            <a:gdLst>
              <a:gd name="connsiteX0" fmla="*/ 0 w 3766324"/>
              <a:gd name="connsiteY0" fmla="*/ 0 h 2337268"/>
              <a:gd name="connsiteX1" fmla="*/ 3766324 w 3766324"/>
              <a:gd name="connsiteY1" fmla="*/ 0 h 2337268"/>
              <a:gd name="connsiteX2" fmla="*/ 3766324 w 3766324"/>
              <a:gd name="connsiteY2" fmla="*/ 2337268 h 2337268"/>
              <a:gd name="connsiteX3" fmla="*/ 0 w 3766324"/>
              <a:gd name="connsiteY3" fmla="*/ 2337268 h 2337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6324" h="2337268">
                <a:moveTo>
                  <a:pt x="0" y="0"/>
                </a:moveTo>
                <a:lnTo>
                  <a:pt x="3766324" y="0"/>
                </a:lnTo>
                <a:lnTo>
                  <a:pt x="3766324" y="2337268"/>
                </a:lnTo>
                <a:lnTo>
                  <a:pt x="0" y="233726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88799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3266252" y="3776421"/>
            <a:ext cx="4346328" cy="4346328"/>
          </a:xfrm>
          <a:custGeom>
            <a:avLst/>
            <a:gdLst>
              <a:gd name="connsiteX0" fmla="*/ 2173164 w 4346328"/>
              <a:gd name="connsiteY0" fmla="*/ 0 h 4346328"/>
              <a:gd name="connsiteX1" fmla="*/ 4346328 w 4346328"/>
              <a:gd name="connsiteY1" fmla="*/ 2173164 h 4346328"/>
              <a:gd name="connsiteX2" fmla="*/ 2173164 w 4346328"/>
              <a:gd name="connsiteY2" fmla="*/ 4346328 h 4346328"/>
              <a:gd name="connsiteX3" fmla="*/ 0 w 4346328"/>
              <a:gd name="connsiteY3" fmla="*/ 2173164 h 4346328"/>
              <a:gd name="connsiteX4" fmla="*/ 2173164 w 4346328"/>
              <a:gd name="connsiteY4" fmla="*/ 0 h 43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6328" h="4346328">
                <a:moveTo>
                  <a:pt x="2173164" y="0"/>
                </a:moveTo>
                <a:cubicBezTo>
                  <a:pt x="3373369" y="0"/>
                  <a:pt x="4346328" y="972959"/>
                  <a:pt x="4346328" y="2173164"/>
                </a:cubicBezTo>
                <a:cubicBezTo>
                  <a:pt x="4346328" y="3373369"/>
                  <a:pt x="3373369" y="4346328"/>
                  <a:pt x="2173164" y="4346328"/>
                </a:cubicBezTo>
                <a:cubicBezTo>
                  <a:pt x="972959" y="4346328"/>
                  <a:pt x="0" y="3373369"/>
                  <a:pt x="0" y="2173164"/>
                </a:cubicBezTo>
                <a:cubicBezTo>
                  <a:pt x="0" y="972959"/>
                  <a:pt x="972959" y="0"/>
                  <a:pt x="217316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10017101" y="3776421"/>
            <a:ext cx="4346328" cy="4346328"/>
          </a:xfrm>
          <a:custGeom>
            <a:avLst/>
            <a:gdLst>
              <a:gd name="connsiteX0" fmla="*/ 2173164 w 4346328"/>
              <a:gd name="connsiteY0" fmla="*/ 0 h 4346328"/>
              <a:gd name="connsiteX1" fmla="*/ 4346328 w 4346328"/>
              <a:gd name="connsiteY1" fmla="*/ 2173164 h 4346328"/>
              <a:gd name="connsiteX2" fmla="*/ 2173164 w 4346328"/>
              <a:gd name="connsiteY2" fmla="*/ 4346328 h 4346328"/>
              <a:gd name="connsiteX3" fmla="*/ 0 w 4346328"/>
              <a:gd name="connsiteY3" fmla="*/ 2173164 h 4346328"/>
              <a:gd name="connsiteX4" fmla="*/ 2173164 w 4346328"/>
              <a:gd name="connsiteY4" fmla="*/ 0 h 43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6328" h="4346328">
                <a:moveTo>
                  <a:pt x="2173164" y="0"/>
                </a:moveTo>
                <a:cubicBezTo>
                  <a:pt x="3373369" y="0"/>
                  <a:pt x="4346328" y="972959"/>
                  <a:pt x="4346328" y="2173164"/>
                </a:cubicBezTo>
                <a:cubicBezTo>
                  <a:pt x="4346328" y="3373369"/>
                  <a:pt x="3373369" y="4346328"/>
                  <a:pt x="2173164" y="4346328"/>
                </a:cubicBezTo>
                <a:cubicBezTo>
                  <a:pt x="972959" y="4346328"/>
                  <a:pt x="0" y="3373369"/>
                  <a:pt x="0" y="2173164"/>
                </a:cubicBezTo>
                <a:cubicBezTo>
                  <a:pt x="0" y="972959"/>
                  <a:pt x="972959" y="0"/>
                  <a:pt x="217316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16793415" y="3776421"/>
            <a:ext cx="4346328" cy="4346328"/>
          </a:xfrm>
          <a:custGeom>
            <a:avLst/>
            <a:gdLst>
              <a:gd name="connsiteX0" fmla="*/ 2173164 w 4346328"/>
              <a:gd name="connsiteY0" fmla="*/ 0 h 4346328"/>
              <a:gd name="connsiteX1" fmla="*/ 4346328 w 4346328"/>
              <a:gd name="connsiteY1" fmla="*/ 2173164 h 4346328"/>
              <a:gd name="connsiteX2" fmla="*/ 2173164 w 4346328"/>
              <a:gd name="connsiteY2" fmla="*/ 4346328 h 4346328"/>
              <a:gd name="connsiteX3" fmla="*/ 0 w 4346328"/>
              <a:gd name="connsiteY3" fmla="*/ 2173164 h 4346328"/>
              <a:gd name="connsiteX4" fmla="*/ 2173164 w 4346328"/>
              <a:gd name="connsiteY4" fmla="*/ 0 h 43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6328" h="4346328">
                <a:moveTo>
                  <a:pt x="2173164" y="0"/>
                </a:moveTo>
                <a:cubicBezTo>
                  <a:pt x="3373368" y="0"/>
                  <a:pt x="4346328" y="972959"/>
                  <a:pt x="4346328" y="2173164"/>
                </a:cubicBezTo>
                <a:cubicBezTo>
                  <a:pt x="4346328" y="3373369"/>
                  <a:pt x="3373368" y="4346328"/>
                  <a:pt x="2173164" y="4346328"/>
                </a:cubicBezTo>
                <a:cubicBezTo>
                  <a:pt x="972958" y="4346328"/>
                  <a:pt x="0" y="3373369"/>
                  <a:pt x="0" y="2173164"/>
                </a:cubicBezTo>
                <a:cubicBezTo>
                  <a:pt x="0" y="972959"/>
                  <a:pt x="972958" y="0"/>
                  <a:pt x="217316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9717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-34032" y="5409591"/>
            <a:ext cx="24377648" cy="7215028"/>
          </a:xfrm>
          <a:custGeom>
            <a:avLst/>
            <a:gdLst>
              <a:gd name="connsiteX0" fmla="*/ 0 w 24377648"/>
              <a:gd name="connsiteY0" fmla="*/ 0 h 7215028"/>
              <a:gd name="connsiteX1" fmla="*/ 24377648 w 24377648"/>
              <a:gd name="connsiteY1" fmla="*/ 0 h 7215028"/>
              <a:gd name="connsiteX2" fmla="*/ 24377648 w 24377648"/>
              <a:gd name="connsiteY2" fmla="*/ 7215028 h 7215028"/>
              <a:gd name="connsiteX3" fmla="*/ 0 w 24377648"/>
              <a:gd name="connsiteY3" fmla="*/ 7215028 h 721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77648" h="7215028">
                <a:moveTo>
                  <a:pt x="0" y="0"/>
                </a:moveTo>
                <a:lnTo>
                  <a:pt x="24377648" y="0"/>
                </a:lnTo>
                <a:lnTo>
                  <a:pt x="24377648" y="7215028"/>
                </a:lnTo>
                <a:lnTo>
                  <a:pt x="0" y="721502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12270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2" y="-5188"/>
            <a:ext cx="8121412" cy="8028311"/>
          </a:xfrm>
          <a:custGeom>
            <a:avLst/>
            <a:gdLst>
              <a:gd name="connsiteX0" fmla="*/ 0 w 8121412"/>
              <a:gd name="connsiteY0" fmla="*/ 0 h 8028311"/>
              <a:gd name="connsiteX1" fmla="*/ 8121412 w 8121412"/>
              <a:gd name="connsiteY1" fmla="*/ 0 h 8028311"/>
              <a:gd name="connsiteX2" fmla="*/ 8121412 w 8121412"/>
              <a:gd name="connsiteY2" fmla="*/ 8028311 h 8028311"/>
              <a:gd name="connsiteX3" fmla="*/ 0 w 8121412"/>
              <a:gd name="connsiteY3" fmla="*/ 8028311 h 802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1412" h="8028311">
                <a:moveTo>
                  <a:pt x="0" y="0"/>
                </a:moveTo>
                <a:lnTo>
                  <a:pt x="8121412" y="0"/>
                </a:lnTo>
                <a:lnTo>
                  <a:pt x="8121412" y="8028311"/>
                </a:lnTo>
                <a:lnTo>
                  <a:pt x="0" y="8028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8138331" y="-5188"/>
            <a:ext cx="8091915" cy="8028311"/>
          </a:xfrm>
          <a:custGeom>
            <a:avLst/>
            <a:gdLst>
              <a:gd name="connsiteX0" fmla="*/ 0 w 8091915"/>
              <a:gd name="connsiteY0" fmla="*/ 0 h 8028311"/>
              <a:gd name="connsiteX1" fmla="*/ 8091915 w 8091915"/>
              <a:gd name="connsiteY1" fmla="*/ 0 h 8028311"/>
              <a:gd name="connsiteX2" fmla="*/ 8091915 w 8091915"/>
              <a:gd name="connsiteY2" fmla="*/ 8028311 h 8028311"/>
              <a:gd name="connsiteX3" fmla="*/ 0 w 8091915"/>
              <a:gd name="connsiteY3" fmla="*/ 8028311 h 802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91915" h="8028311">
                <a:moveTo>
                  <a:pt x="0" y="0"/>
                </a:moveTo>
                <a:lnTo>
                  <a:pt x="8091915" y="0"/>
                </a:lnTo>
                <a:lnTo>
                  <a:pt x="8091915" y="8028311"/>
                </a:lnTo>
                <a:lnTo>
                  <a:pt x="0" y="8028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16256237" y="-5188"/>
            <a:ext cx="8121412" cy="8028311"/>
          </a:xfrm>
          <a:custGeom>
            <a:avLst/>
            <a:gdLst>
              <a:gd name="connsiteX0" fmla="*/ 0 w 8121412"/>
              <a:gd name="connsiteY0" fmla="*/ 0 h 8028311"/>
              <a:gd name="connsiteX1" fmla="*/ 8121412 w 8121412"/>
              <a:gd name="connsiteY1" fmla="*/ 0 h 8028311"/>
              <a:gd name="connsiteX2" fmla="*/ 8121412 w 8121412"/>
              <a:gd name="connsiteY2" fmla="*/ 8028311 h 8028311"/>
              <a:gd name="connsiteX3" fmla="*/ 0 w 8121412"/>
              <a:gd name="connsiteY3" fmla="*/ 8028311 h 8028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1412" h="8028311">
                <a:moveTo>
                  <a:pt x="0" y="0"/>
                </a:moveTo>
                <a:lnTo>
                  <a:pt x="8121412" y="0"/>
                </a:lnTo>
                <a:lnTo>
                  <a:pt x="8121412" y="8028311"/>
                </a:lnTo>
                <a:lnTo>
                  <a:pt x="0" y="802831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99762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5515799" y="4655304"/>
            <a:ext cx="5889961" cy="5889960"/>
          </a:xfrm>
          <a:custGeom>
            <a:avLst/>
            <a:gdLst>
              <a:gd name="connsiteX0" fmla="*/ 2944981 w 5889961"/>
              <a:gd name="connsiteY0" fmla="*/ 0 h 5889960"/>
              <a:gd name="connsiteX1" fmla="*/ 5889961 w 5889961"/>
              <a:gd name="connsiteY1" fmla="*/ 2944980 h 5889960"/>
              <a:gd name="connsiteX2" fmla="*/ 2944981 w 5889961"/>
              <a:gd name="connsiteY2" fmla="*/ 5889960 h 5889960"/>
              <a:gd name="connsiteX3" fmla="*/ 0 w 5889961"/>
              <a:gd name="connsiteY3" fmla="*/ 2944980 h 5889960"/>
              <a:gd name="connsiteX4" fmla="*/ 2944981 w 5889961"/>
              <a:gd name="connsiteY4" fmla="*/ 0 h 5889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89961" h="5889960">
                <a:moveTo>
                  <a:pt x="2944981" y="0"/>
                </a:moveTo>
                <a:cubicBezTo>
                  <a:pt x="4571449" y="0"/>
                  <a:pt x="5889961" y="1318512"/>
                  <a:pt x="5889961" y="2944980"/>
                </a:cubicBezTo>
                <a:cubicBezTo>
                  <a:pt x="5889961" y="4571448"/>
                  <a:pt x="4571449" y="5889960"/>
                  <a:pt x="2944981" y="5889960"/>
                </a:cubicBezTo>
                <a:cubicBezTo>
                  <a:pt x="1318513" y="5889960"/>
                  <a:pt x="0" y="4571448"/>
                  <a:pt x="0" y="2944980"/>
                </a:cubicBezTo>
                <a:cubicBezTo>
                  <a:pt x="0" y="1318512"/>
                  <a:pt x="1318513" y="0"/>
                  <a:pt x="294498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00737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569710" y="3664357"/>
            <a:ext cx="7329052" cy="7329052"/>
          </a:xfrm>
          <a:custGeom>
            <a:avLst/>
            <a:gdLst>
              <a:gd name="connsiteX0" fmla="*/ 3664526 w 7329052"/>
              <a:gd name="connsiteY0" fmla="*/ 0 h 7329052"/>
              <a:gd name="connsiteX1" fmla="*/ 7329052 w 7329052"/>
              <a:gd name="connsiteY1" fmla="*/ 3664526 h 7329052"/>
              <a:gd name="connsiteX2" fmla="*/ 3664526 w 7329052"/>
              <a:gd name="connsiteY2" fmla="*/ 7329052 h 7329052"/>
              <a:gd name="connsiteX3" fmla="*/ 0 w 7329052"/>
              <a:gd name="connsiteY3" fmla="*/ 3664526 h 7329052"/>
              <a:gd name="connsiteX4" fmla="*/ 3664526 w 7329052"/>
              <a:gd name="connsiteY4" fmla="*/ 0 h 7329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29052" h="7329052">
                <a:moveTo>
                  <a:pt x="3664526" y="0"/>
                </a:moveTo>
                <a:cubicBezTo>
                  <a:pt x="5688388" y="0"/>
                  <a:pt x="7329052" y="1640664"/>
                  <a:pt x="7329052" y="3664526"/>
                </a:cubicBezTo>
                <a:cubicBezTo>
                  <a:pt x="7329052" y="5688388"/>
                  <a:pt x="5688388" y="7329052"/>
                  <a:pt x="3664526" y="7329052"/>
                </a:cubicBezTo>
                <a:cubicBezTo>
                  <a:pt x="1640664" y="7329052"/>
                  <a:pt x="0" y="5688388"/>
                  <a:pt x="0" y="3664526"/>
                </a:cubicBezTo>
                <a:cubicBezTo>
                  <a:pt x="0" y="1640664"/>
                  <a:pt x="1640664" y="0"/>
                  <a:pt x="366452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84381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12495997" y="4197996"/>
            <a:ext cx="4135090" cy="6168047"/>
          </a:xfrm>
          <a:custGeom>
            <a:avLst/>
            <a:gdLst>
              <a:gd name="connsiteX0" fmla="*/ 0 w 4135090"/>
              <a:gd name="connsiteY0" fmla="*/ 0 h 6168047"/>
              <a:gd name="connsiteX1" fmla="*/ 4135090 w 4135090"/>
              <a:gd name="connsiteY1" fmla="*/ 0 h 6168047"/>
              <a:gd name="connsiteX2" fmla="*/ 4135090 w 4135090"/>
              <a:gd name="connsiteY2" fmla="*/ 6168047 h 6168047"/>
              <a:gd name="connsiteX3" fmla="*/ 0 w 4135090"/>
              <a:gd name="connsiteY3" fmla="*/ 6168047 h 6168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35090" h="6168047">
                <a:moveTo>
                  <a:pt x="0" y="0"/>
                </a:moveTo>
                <a:lnTo>
                  <a:pt x="4135090" y="0"/>
                </a:lnTo>
                <a:lnTo>
                  <a:pt x="4135090" y="6168047"/>
                </a:lnTo>
                <a:lnTo>
                  <a:pt x="0" y="616804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043680" y="4197996"/>
            <a:ext cx="4135090" cy="6168047"/>
          </a:xfrm>
          <a:custGeom>
            <a:avLst/>
            <a:gdLst>
              <a:gd name="connsiteX0" fmla="*/ 0 w 4135090"/>
              <a:gd name="connsiteY0" fmla="*/ 0 h 6168047"/>
              <a:gd name="connsiteX1" fmla="*/ 4135090 w 4135090"/>
              <a:gd name="connsiteY1" fmla="*/ 0 h 6168047"/>
              <a:gd name="connsiteX2" fmla="*/ 4135090 w 4135090"/>
              <a:gd name="connsiteY2" fmla="*/ 6168047 h 6168047"/>
              <a:gd name="connsiteX3" fmla="*/ 0 w 4135090"/>
              <a:gd name="connsiteY3" fmla="*/ 6168047 h 6168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35090" h="6168047">
                <a:moveTo>
                  <a:pt x="0" y="0"/>
                </a:moveTo>
                <a:lnTo>
                  <a:pt x="4135090" y="0"/>
                </a:lnTo>
                <a:lnTo>
                  <a:pt x="4135090" y="6168047"/>
                </a:lnTo>
                <a:lnTo>
                  <a:pt x="0" y="616804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14690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3186226" y="4014503"/>
            <a:ext cx="7775060" cy="4023937"/>
          </a:xfrm>
          <a:custGeom>
            <a:avLst/>
            <a:gdLst>
              <a:gd name="connsiteX0" fmla="*/ 3887530 w 7775060"/>
              <a:gd name="connsiteY0" fmla="*/ 0 h 4023937"/>
              <a:gd name="connsiteX1" fmla="*/ 7775060 w 7775060"/>
              <a:gd name="connsiteY1" fmla="*/ 4023937 h 4023937"/>
              <a:gd name="connsiteX2" fmla="*/ 0 w 7775060"/>
              <a:gd name="connsiteY2" fmla="*/ 4023937 h 4023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75060" h="4023937">
                <a:moveTo>
                  <a:pt x="3887530" y="0"/>
                </a:moveTo>
                <a:lnTo>
                  <a:pt x="7775060" y="4023937"/>
                </a:lnTo>
                <a:lnTo>
                  <a:pt x="0" y="40239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13481823" y="4014503"/>
            <a:ext cx="7775060" cy="4023937"/>
          </a:xfrm>
          <a:custGeom>
            <a:avLst/>
            <a:gdLst>
              <a:gd name="connsiteX0" fmla="*/ 3887530 w 7775060"/>
              <a:gd name="connsiteY0" fmla="*/ 0 h 4023937"/>
              <a:gd name="connsiteX1" fmla="*/ 7775060 w 7775060"/>
              <a:gd name="connsiteY1" fmla="*/ 4023937 h 4023937"/>
              <a:gd name="connsiteX2" fmla="*/ 0 w 7775060"/>
              <a:gd name="connsiteY2" fmla="*/ 4023937 h 4023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75060" h="4023937">
                <a:moveTo>
                  <a:pt x="3887530" y="0"/>
                </a:moveTo>
                <a:lnTo>
                  <a:pt x="7775060" y="4023937"/>
                </a:lnTo>
                <a:lnTo>
                  <a:pt x="0" y="40239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44473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425011" y="5548593"/>
            <a:ext cx="5466718" cy="3385624"/>
          </a:xfrm>
          <a:custGeom>
            <a:avLst/>
            <a:gdLst>
              <a:gd name="connsiteX0" fmla="*/ 0 w 5466718"/>
              <a:gd name="connsiteY0" fmla="*/ 0 h 3385624"/>
              <a:gd name="connsiteX1" fmla="*/ 5466718 w 5466718"/>
              <a:gd name="connsiteY1" fmla="*/ 0 h 3385624"/>
              <a:gd name="connsiteX2" fmla="*/ 5466718 w 5466718"/>
              <a:gd name="connsiteY2" fmla="*/ 3385624 h 3385624"/>
              <a:gd name="connsiteX3" fmla="*/ 0 w 5466718"/>
              <a:gd name="connsiteY3" fmla="*/ 3385624 h 3385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6718" h="3385624">
                <a:moveTo>
                  <a:pt x="0" y="0"/>
                </a:moveTo>
                <a:lnTo>
                  <a:pt x="5466718" y="0"/>
                </a:lnTo>
                <a:lnTo>
                  <a:pt x="5466718" y="3385624"/>
                </a:lnTo>
                <a:lnTo>
                  <a:pt x="0" y="338562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36773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671899" y="5319315"/>
            <a:ext cx="5177994" cy="3089028"/>
          </a:xfrm>
          <a:custGeom>
            <a:avLst/>
            <a:gdLst>
              <a:gd name="connsiteX0" fmla="*/ 0 w 5177994"/>
              <a:gd name="connsiteY0" fmla="*/ 0 h 3089028"/>
              <a:gd name="connsiteX1" fmla="*/ 5177994 w 5177994"/>
              <a:gd name="connsiteY1" fmla="*/ 0 h 3089028"/>
              <a:gd name="connsiteX2" fmla="*/ 5177994 w 5177994"/>
              <a:gd name="connsiteY2" fmla="*/ 3089028 h 3089028"/>
              <a:gd name="connsiteX3" fmla="*/ 0 w 5177994"/>
              <a:gd name="connsiteY3" fmla="*/ 3089028 h 3089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7994" h="3089028">
                <a:moveTo>
                  <a:pt x="0" y="0"/>
                </a:moveTo>
                <a:lnTo>
                  <a:pt x="5177994" y="0"/>
                </a:lnTo>
                <a:lnTo>
                  <a:pt x="5177994" y="3089028"/>
                </a:lnTo>
                <a:lnTo>
                  <a:pt x="0" y="308902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97197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0941049" y="5111750"/>
            <a:ext cx="2673350" cy="3575050"/>
          </a:xfrm>
          <a:custGeom>
            <a:avLst/>
            <a:gdLst>
              <a:gd name="connsiteX0" fmla="*/ 0 w 2673350"/>
              <a:gd name="connsiteY0" fmla="*/ 0 h 3575050"/>
              <a:gd name="connsiteX1" fmla="*/ 2673350 w 2673350"/>
              <a:gd name="connsiteY1" fmla="*/ 0 h 3575050"/>
              <a:gd name="connsiteX2" fmla="*/ 2673350 w 2673350"/>
              <a:gd name="connsiteY2" fmla="*/ 3575050 h 3575050"/>
              <a:gd name="connsiteX3" fmla="*/ 0 w 2673350"/>
              <a:gd name="connsiteY3" fmla="*/ 3575050 h 357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73350" h="3575050">
                <a:moveTo>
                  <a:pt x="0" y="0"/>
                </a:moveTo>
                <a:lnTo>
                  <a:pt x="2673350" y="0"/>
                </a:lnTo>
                <a:lnTo>
                  <a:pt x="2673350" y="3575050"/>
                </a:lnTo>
                <a:lnTo>
                  <a:pt x="0" y="35750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45392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946692" y="5780267"/>
            <a:ext cx="2454056" cy="3058932"/>
          </a:xfrm>
          <a:custGeom>
            <a:avLst/>
            <a:gdLst>
              <a:gd name="connsiteX0" fmla="*/ 0 w 2454056"/>
              <a:gd name="connsiteY0" fmla="*/ 0 h 3058932"/>
              <a:gd name="connsiteX1" fmla="*/ 2454056 w 2454056"/>
              <a:gd name="connsiteY1" fmla="*/ 0 h 3058932"/>
              <a:gd name="connsiteX2" fmla="*/ 2454056 w 2454056"/>
              <a:gd name="connsiteY2" fmla="*/ 3058932 h 3058932"/>
              <a:gd name="connsiteX3" fmla="*/ 0 w 2454056"/>
              <a:gd name="connsiteY3" fmla="*/ 3058932 h 3058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54056" h="3058932">
                <a:moveTo>
                  <a:pt x="0" y="0"/>
                </a:moveTo>
                <a:lnTo>
                  <a:pt x="2454056" y="0"/>
                </a:lnTo>
                <a:lnTo>
                  <a:pt x="2454056" y="3058932"/>
                </a:lnTo>
                <a:lnTo>
                  <a:pt x="0" y="305893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37699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2789528" y="5418285"/>
            <a:ext cx="1030115" cy="3123041"/>
          </a:xfrm>
          <a:custGeom>
            <a:avLst/>
            <a:gdLst>
              <a:gd name="connsiteX0" fmla="*/ 0 w 2232361"/>
              <a:gd name="connsiteY0" fmla="*/ 0 h 3958082"/>
              <a:gd name="connsiteX1" fmla="*/ 2232361 w 2232361"/>
              <a:gd name="connsiteY1" fmla="*/ 0 h 3958082"/>
              <a:gd name="connsiteX2" fmla="*/ 2232361 w 2232361"/>
              <a:gd name="connsiteY2" fmla="*/ 3958082 h 3958082"/>
              <a:gd name="connsiteX3" fmla="*/ 0 w 2232361"/>
              <a:gd name="connsiteY3" fmla="*/ 3958082 h 395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2361" h="3958082">
                <a:moveTo>
                  <a:pt x="0" y="0"/>
                </a:moveTo>
                <a:lnTo>
                  <a:pt x="2232361" y="0"/>
                </a:lnTo>
                <a:lnTo>
                  <a:pt x="2232361" y="3958082"/>
                </a:lnTo>
                <a:lnTo>
                  <a:pt x="0" y="395808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10524793" y="5135321"/>
            <a:ext cx="2104340" cy="3731094"/>
          </a:xfrm>
          <a:custGeom>
            <a:avLst/>
            <a:gdLst>
              <a:gd name="connsiteX0" fmla="*/ 0 w 2667000"/>
              <a:gd name="connsiteY0" fmla="*/ 0 h 4728717"/>
              <a:gd name="connsiteX1" fmla="*/ 2667000 w 2667000"/>
              <a:gd name="connsiteY1" fmla="*/ 0 h 4728717"/>
              <a:gd name="connsiteX2" fmla="*/ 2667000 w 2667000"/>
              <a:gd name="connsiteY2" fmla="*/ 4728717 h 4728717"/>
              <a:gd name="connsiteX3" fmla="*/ 0 w 2667000"/>
              <a:gd name="connsiteY3" fmla="*/ 4728717 h 4728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67000" h="4728717">
                <a:moveTo>
                  <a:pt x="0" y="0"/>
                </a:moveTo>
                <a:lnTo>
                  <a:pt x="2667000" y="0"/>
                </a:lnTo>
                <a:lnTo>
                  <a:pt x="2667000" y="4728717"/>
                </a:lnTo>
                <a:lnTo>
                  <a:pt x="0" y="472871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0578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171450"/>
            <a:ext cx="8703566" cy="13392150"/>
          </a:xfrm>
          <a:custGeom>
            <a:avLst/>
            <a:gdLst>
              <a:gd name="connsiteX0" fmla="*/ 0 w 8703566"/>
              <a:gd name="connsiteY0" fmla="*/ 0 h 13392150"/>
              <a:gd name="connsiteX1" fmla="*/ 8703566 w 8703566"/>
              <a:gd name="connsiteY1" fmla="*/ 0 h 13392150"/>
              <a:gd name="connsiteX2" fmla="*/ 8703566 w 8703566"/>
              <a:gd name="connsiteY2" fmla="*/ 13392150 h 13392150"/>
              <a:gd name="connsiteX3" fmla="*/ 0 w 8703566"/>
              <a:gd name="connsiteY3" fmla="*/ 13392150 h 1339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03566" h="13392150">
                <a:moveTo>
                  <a:pt x="0" y="0"/>
                </a:moveTo>
                <a:lnTo>
                  <a:pt x="8703566" y="0"/>
                </a:lnTo>
                <a:lnTo>
                  <a:pt x="8703566" y="13392150"/>
                </a:lnTo>
                <a:lnTo>
                  <a:pt x="0" y="1339215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4740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152400"/>
            <a:ext cx="8703566" cy="10374873"/>
          </a:xfrm>
          <a:custGeom>
            <a:avLst/>
            <a:gdLst>
              <a:gd name="connsiteX0" fmla="*/ 0 w 8703566"/>
              <a:gd name="connsiteY0" fmla="*/ 0 h 10374873"/>
              <a:gd name="connsiteX1" fmla="*/ 8703566 w 8703566"/>
              <a:gd name="connsiteY1" fmla="*/ 0 h 10374873"/>
              <a:gd name="connsiteX2" fmla="*/ 8703566 w 8703566"/>
              <a:gd name="connsiteY2" fmla="*/ 10374873 h 10374873"/>
              <a:gd name="connsiteX3" fmla="*/ 0 w 8703566"/>
              <a:gd name="connsiteY3" fmla="*/ 10374873 h 10374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03566" h="10374873">
                <a:moveTo>
                  <a:pt x="0" y="0"/>
                </a:moveTo>
                <a:lnTo>
                  <a:pt x="8703566" y="0"/>
                </a:lnTo>
                <a:lnTo>
                  <a:pt x="8703566" y="10374873"/>
                </a:lnTo>
                <a:lnTo>
                  <a:pt x="0" y="1037487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49159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2189064" y="2628900"/>
            <a:ext cx="9223136" cy="8458202"/>
          </a:xfrm>
          <a:custGeom>
            <a:avLst/>
            <a:gdLst>
              <a:gd name="connsiteX0" fmla="*/ 0 w 9648870"/>
              <a:gd name="connsiteY0" fmla="*/ 0 h 8458202"/>
              <a:gd name="connsiteX1" fmla="*/ 9648870 w 9648870"/>
              <a:gd name="connsiteY1" fmla="*/ 0 h 8458202"/>
              <a:gd name="connsiteX2" fmla="*/ 9648870 w 9648870"/>
              <a:gd name="connsiteY2" fmla="*/ 8458202 h 8458202"/>
              <a:gd name="connsiteX3" fmla="*/ 0 w 9648870"/>
              <a:gd name="connsiteY3" fmla="*/ 8458202 h 8458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48870" h="8458202">
                <a:moveTo>
                  <a:pt x="0" y="0"/>
                </a:moveTo>
                <a:lnTo>
                  <a:pt x="9648870" y="0"/>
                </a:lnTo>
                <a:lnTo>
                  <a:pt x="9648870" y="8458202"/>
                </a:lnTo>
                <a:lnTo>
                  <a:pt x="0" y="84582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5764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2861185" y="2628900"/>
            <a:ext cx="11710217" cy="8458202"/>
          </a:xfrm>
          <a:custGeom>
            <a:avLst/>
            <a:gdLst>
              <a:gd name="connsiteX0" fmla="*/ 0 w 11710217"/>
              <a:gd name="connsiteY0" fmla="*/ 0 h 8458202"/>
              <a:gd name="connsiteX1" fmla="*/ 4802300 w 11710217"/>
              <a:gd name="connsiteY1" fmla="*/ 0 h 8458202"/>
              <a:gd name="connsiteX2" fmla="*/ 11710217 w 11710217"/>
              <a:gd name="connsiteY2" fmla="*/ 8458202 h 8458202"/>
              <a:gd name="connsiteX3" fmla="*/ 0 w 11710217"/>
              <a:gd name="connsiteY3" fmla="*/ 8458202 h 8458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710217" h="8458202">
                <a:moveTo>
                  <a:pt x="0" y="0"/>
                </a:moveTo>
                <a:lnTo>
                  <a:pt x="4802300" y="0"/>
                </a:lnTo>
                <a:lnTo>
                  <a:pt x="11710217" y="8458202"/>
                </a:lnTo>
                <a:lnTo>
                  <a:pt x="0" y="84582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54728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2861185" y="2628900"/>
            <a:ext cx="13296394" cy="8458202"/>
          </a:xfrm>
          <a:custGeom>
            <a:avLst/>
            <a:gdLst>
              <a:gd name="connsiteX0" fmla="*/ 7036305 w 13296394"/>
              <a:gd name="connsiteY0" fmla="*/ 3249932 h 8458202"/>
              <a:gd name="connsiteX1" fmla="*/ 13296394 w 13296394"/>
              <a:gd name="connsiteY1" fmla="*/ 3249932 h 8458202"/>
              <a:gd name="connsiteX2" fmla="*/ 13296394 w 13296394"/>
              <a:gd name="connsiteY2" fmla="*/ 8458202 h 8458202"/>
              <a:gd name="connsiteX3" fmla="*/ 10729164 w 13296394"/>
              <a:gd name="connsiteY3" fmla="*/ 8458202 h 8458202"/>
              <a:gd name="connsiteX4" fmla="*/ 0 w 13296394"/>
              <a:gd name="connsiteY4" fmla="*/ 0 h 8458202"/>
              <a:gd name="connsiteX5" fmla="*/ 4169168 w 13296394"/>
              <a:gd name="connsiteY5" fmla="*/ 0 h 8458202"/>
              <a:gd name="connsiteX6" fmla="*/ 10166350 w 13296394"/>
              <a:gd name="connsiteY6" fmla="*/ 8458202 h 8458202"/>
              <a:gd name="connsiteX7" fmla="*/ 0 w 13296394"/>
              <a:gd name="connsiteY7" fmla="*/ 8458202 h 8458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296394" h="8458202">
                <a:moveTo>
                  <a:pt x="7036305" y="3249932"/>
                </a:moveTo>
                <a:lnTo>
                  <a:pt x="13296394" y="3249932"/>
                </a:lnTo>
                <a:lnTo>
                  <a:pt x="13296394" y="8458202"/>
                </a:lnTo>
                <a:lnTo>
                  <a:pt x="10729164" y="8458202"/>
                </a:lnTo>
                <a:close/>
                <a:moveTo>
                  <a:pt x="0" y="0"/>
                </a:moveTo>
                <a:lnTo>
                  <a:pt x="4169168" y="0"/>
                </a:lnTo>
                <a:lnTo>
                  <a:pt x="10166350" y="8458202"/>
                </a:lnTo>
                <a:lnTo>
                  <a:pt x="0" y="84582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4775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3186225" y="4014503"/>
            <a:ext cx="7775060" cy="4023937"/>
          </a:xfrm>
          <a:custGeom>
            <a:avLst/>
            <a:gdLst>
              <a:gd name="connsiteX0" fmla="*/ 3887530 w 7775060"/>
              <a:gd name="connsiteY0" fmla="*/ 0 h 4023937"/>
              <a:gd name="connsiteX1" fmla="*/ 7775060 w 7775060"/>
              <a:gd name="connsiteY1" fmla="*/ 4023937 h 4023937"/>
              <a:gd name="connsiteX2" fmla="*/ 0 w 7775060"/>
              <a:gd name="connsiteY2" fmla="*/ 4023937 h 4023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75060" h="4023937">
                <a:moveTo>
                  <a:pt x="3887530" y="0"/>
                </a:moveTo>
                <a:lnTo>
                  <a:pt x="7775060" y="4023937"/>
                </a:lnTo>
                <a:lnTo>
                  <a:pt x="0" y="40239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13476355" y="5795463"/>
            <a:ext cx="7775061" cy="4023937"/>
          </a:xfrm>
          <a:custGeom>
            <a:avLst/>
            <a:gdLst>
              <a:gd name="connsiteX0" fmla="*/ 0 w 7775061"/>
              <a:gd name="connsiteY0" fmla="*/ 0 h 4023937"/>
              <a:gd name="connsiteX1" fmla="*/ 7775061 w 7775061"/>
              <a:gd name="connsiteY1" fmla="*/ 0 h 4023937"/>
              <a:gd name="connsiteX2" fmla="*/ 3887529 w 7775061"/>
              <a:gd name="connsiteY2" fmla="*/ 4023937 h 4023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75061" h="4023937">
                <a:moveTo>
                  <a:pt x="0" y="0"/>
                </a:moveTo>
                <a:lnTo>
                  <a:pt x="7775061" y="0"/>
                </a:lnTo>
                <a:lnTo>
                  <a:pt x="3887529" y="402393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42939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75227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2152671" y="152401"/>
            <a:ext cx="12224979" cy="13406011"/>
          </a:xfrm>
          <a:custGeom>
            <a:avLst/>
            <a:gdLst>
              <a:gd name="connsiteX0" fmla="*/ 0 w 12224979"/>
              <a:gd name="connsiteY0" fmla="*/ 0 h 13716001"/>
              <a:gd name="connsiteX1" fmla="*/ 12224979 w 12224979"/>
              <a:gd name="connsiteY1" fmla="*/ 0 h 13716001"/>
              <a:gd name="connsiteX2" fmla="*/ 12224979 w 12224979"/>
              <a:gd name="connsiteY2" fmla="*/ 13716001 h 13716001"/>
              <a:gd name="connsiteX3" fmla="*/ 0 w 12224979"/>
              <a:gd name="connsiteY3" fmla="*/ 13716001 h 13716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24979" h="13716001">
                <a:moveTo>
                  <a:pt x="0" y="0"/>
                </a:moveTo>
                <a:lnTo>
                  <a:pt x="12224979" y="0"/>
                </a:lnTo>
                <a:lnTo>
                  <a:pt x="12224979" y="13716001"/>
                </a:lnTo>
                <a:lnTo>
                  <a:pt x="0" y="1371600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7" name="Rechteck 2"/>
          <p:cNvSpPr/>
          <p:nvPr userDrawn="1"/>
        </p:nvSpPr>
        <p:spPr>
          <a:xfrm>
            <a:off x="2" y="-5187"/>
            <a:ext cx="24377648" cy="1575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>
              <a:lnSpc>
                <a:spcPct val="200000"/>
              </a:lnSpc>
            </a:pPr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7196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Rechteck 4"/>
          <p:cNvSpPr/>
          <p:nvPr userDrawn="1"/>
        </p:nvSpPr>
        <p:spPr>
          <a:xfrm>
            <a:off x="2" y="13558412"/>
            <a:ext cx="24377648" cy="1575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>
              <a:lnSpc>
                <a:spcPct val="200000"/>
              </a:lnSpc>
            </a:pPr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7196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57494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8375484" y="152401"/>
            <a:ext cx="16007349" cy="13406011"/>
          </a:xfrm>
          <a:custGeom>
            <a:avLst/>
            <a:gdLst>
              <a:gd name="connsiteX0" fmla="*/ 0 w 16007348"/>
              <a:gd name="connsiteY0" fmla="*/ 0 h 13716001"/>
              <a:gd name="connsiteX1" fmla="*/ 16007348 w 16007348"/>
              <a:gd name="connsiteY1" fmla="*/ 0 h 13716001"/>
              <a:gd name="connsiteX2" fmla="*/ 16007348 w 16007348"/>
              <a:gd name="connsiteY2" fmla="*/ 13716001 h 13716001"/>
              <a:gd name="connsiteX3" fmla="*/ 0 w 16007348"/>
              <a:gd name="connsiteY3" fmla="*/ 13716001 h 13716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07348" h="13716001">
                <a:moveTo>
                  <a:pt x="0" y="0"/>
                </a:moveTo>
                <a:lnTo>
                  <a:pt x="16007348" y="0"/>
                </a:lnTo>
                <a:lnTo>
                  <a:pt x="16007348" y="13716001"/>
                </a:lnTo>
                <a:lnTo>
                  <a:pt x="0" y="137160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Tx/>
              <a:buNone/>
              <a:defRPr baseline="0"/>
            </a:lvl1pPr>
          </a:lstStyle>
          <a:p>
            <a:endParaRPr lang="de-DE"/>
          </a:p>
        </p:txBody>
      </p:sp>
      <p:sp>
        <p:nvSpPr>
          <p:cNvPr id="9" name="Rechteck 2"/>
          <p:cNvSpPr/>
          <p:nvPr userDrawn="1"/>
        </p:nvSpPr>
        <p:spPr>
          <a:xfrm>
            <a:off x="2" y="-5187"/>
            <a:ext cx="24377648" cy="1575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>
              <a:lnSpc>
                <a:spcPct val="200000"/>
              </a:lnSpc>
            </a:pPr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7196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Rechteck 4"/>
          <p:cNvSpPr/>
          <p:nvPr userDrawn="1"/>
        </p:nvSpPr>
        <p:spPr>
          <a:xfrm>
            <a:off x="2" y="13558412"/>
            <a:ext cx="24377648" cy="1575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>
              <a:lnSpc>
                <a:spcPct val="200000"/>
              </a:lnSpc>
            </a:pPr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7196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511236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037647" y="3581000"/>
            <a:ext cx="4346328" cy="4346328"/>
          </a:xfrm>
          <a:custGeom>
            <a:avLst/>
            <a:gdLst>
              <a:gd name="connsiteX0" fmla="*/ 2173164 w 4346328"/>
              <a:gd name="connsiteY0" fmla="*/ 0 h 4346328"/>
              <a:gd name="connsiteX1" fmla="*/ 4346328 w 4346328"/>
              <a:gd name="connsiteY1" fmla="*/ 2173164 h 4346328"/>
              <a:gd name="connsiteX2" fmla="*/ 2173164 w 4346328"/>
              <a:gd name="connsiteY2" fmla="*/ 4346328 h 4346328"/>
              <a:gd name="connsiteX3" fmla="*/ 0 w 4346328"/>
              <a:gd name="connsiteY3" fmla="*/ 2173164 h 4346328"/>
              <a:gd name="connsiteX4" fmla="*/ 2173164 w 4346328"/>
              <a:gd name="connsiteY4" fmla="*/ 0 h 43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6328" h="4346328">
                <a:moveTo>
                  <a:pt x="2173164" y="0"/>
                </a:moveTo>
                <a:cubicBezTo>
                  <a:pt x="3373369" y="0"/>
                  <a:pt x="4346328" y="972959"/>
                  <a:pt x="4346328" y="2173164"/>
                </a:cubicBezTo>
                <a:cubicBezTo>
                  <a:pt x="4346328" y="3373369"/>
                  <a:pt x="3373369" y="4346328"/>
                  <a:pt x="2173164" y="4346328"/>
                </a:cubicBezTo>
                <a:cubicBezTo>
                  <a:pt x="972959" y="4346328"/>
                  <a:pt x="0" y="3373369"/>
                  <a:pt x="0" y="2173164"/>
                </a:cubicBezTo>
                <a:cubicBezTo>
                  <a:pt x="0" y="972959"/>
                  <a:pt x="972959" y="0"/>
                  <a:pt x="217316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40086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5093054" y="4656839"/>
            <a:ext cx="4346328" cy="4346328"/>
          </a:xfrm>
          <a:custGeom>
            <a:avLst/>
            <a:gdLst>
              <a:gd name="connsiteX0" fmla="*/ 2173164 w 4346328"/>
              <a:gd name="connsiteY0" fmla="*/ 0 h 4346328"/>
              <a:gd name="connsiteX1" fmla="*/ 4346328 w 4346328"/>
              <a:gd name="connsiteY1" fmla="*/ 2173164 h 4346328"/>
              <a:gd name="connsiteX2" fmla="*/ 2173164 w 4346328"/>
              <a:gd name="connsiteY2" fmla="*/ 4346328 h 4346328"/>
              <a:gd name="connsiteX3" fmla="*/ 0 w 4346328"/>
              <a:gd name="connsiteY3" fmla="*/ 2173164 h 4346328"/>
              <a:gd name="connsiteX4" fmla="*/ 2173164 w 4346328"/>
              <a:gd name="connsiteY4" fmla="*/ 0 h 4346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6328" h="4346328">
                <a:moveTo>
                  <a:pt x="2173164" y="0"/>
                </a:moveTo>
                <a:cubicBezTo>
                  <a:pt x="3373369" y="0"/>
                  <a:pt x="4346328" y="972959"/>
                  <a:pt x="4346328" y="2173164"/>
                </a:cubicBezTo>
                <a:cubicBezTo>
                  <a:pt x="4346328" y="3373369"/>
                  <a:pt x="3373369" y="4346328"/>
                  <a:pt x="2173164" y="4346328"/>
                </a:cubicBezTo>
                <a:cubicBezTo>
                  <a:pt x="972959" y="4346328"/>
                  <a:pt x="0" y="3373369"/>
                  <a:pt x="0" y="2173164"/>
                </a:cubicBezTo>
                <a:cubicBezTo>
                  <a:pt x="0" y="972959"/>
                  <a:pt x="972959" y="0"/>
                  <a:pt x="217316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96032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8375484" y="152401"/>
            <a:ext cx="16007349" cy="13406011"/>
          </a:xfrm>
          <a:custGeom>
            <a:avLst/>
            <a:gdLst>
              <a:gd name="connsiteX0" fmla="*/ 0 w 16007348"/>
              <a:gd name="connsiteY0" fmla="*/ 0 h 13716001"/>
              <a:gd name="connsiteX1" fmla="*/ 16007348 w 16007348"/>
              <a:gd name="connsiteY1" fmla="*/ 0 h 13716001"/>
              <a:gd name="connsiteX2" fmla="*/ 16007348 w 16007348"/>
              <a:gd name="connsiteY2" fmla="*/ 13716001 h 13716001"/>
              <a:gd name="connsiteX3" fmla="*/ 0 w 16007348"/>
              <a:gd name="connsiteY3" fmla="*/ 13716001 h 13716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07348" h="13716001">
                <a:moveTo>
                  <a:pt x="0" y="0"/>
                </a:moveTo>
                <a:lnTo>
                  <a:pt x="16007348" y="0"/>
                </a:lnTo>
                <a:lnTo>
                  <a:pt x="16007348" y="13716001"/>
                </a:lnTo>
                <a:lnTo>
                  <a:pt x="0" y="137160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FontTx/>
              <a:buNone/>
              <a:defRPr baseline="0"/>
            </a:lvl1pPr>
          </a:lstStyle>
          <a:p>
            <a:endParaRPr lang="de-DE"/>
          </a:p>
        </p:txBody>
      </p:sp>
      <p:sp>
        <p:nvSpPr>
          <p:cNvPr id="9" name="Rechteck 2"/>
          <p:cNvSpPr/>
          <p:nvPr userDrawn="1"/>
        </p:nvSpPr>
        <p:spPr>
          <a:xfrm>
            <a:off x="2" y="-5187"/>
            <a:ext cx="24377648" cy="1575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>
              <a:lnSpc>
                <a:spcPct val="200000"/>
              </a:lnSpc>
            </a:pPr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7196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Rechteck 4"/>
          <p:cNvSpPr/>
          <p:nvPr userDrawn="1"/>
        </p:nvSpPr>
        <p:spPr>
          <a:xfrm>
            <a:off x="2" y="13558412"/>
            <a:ext cx="24377648" cy="1575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>
              <a:lnSpc>
                <a:spcPct val="200000"/>
              </a:lnSpc>
            </a:pPr>
            <a:endParaRPr lang="de-DE" sz="1600">
              <a:solidFill>
                <a:schemeClr val="bg1"/>
              </a:solidFill>
              <a:latin typeface="+mn-lt"/>
            </a:endParaRPr>
          </a:p>
          <a:p>
            <a:pPr algn="ctr"/>
            <a:endParaRPr lang="de-DE" sz="7196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" name="Shape 689"/>
          <p:cNvPicPr preferRelativeResize="0"/>
          <p:nvPr/>
        </p:nvPicPr>
        <p:blipFill rotWithShape="1">
          <a:blip r:embed="rId2">
            <a:alphaModFix/>
          </a:blip>
          <a:srcRect l="4792" r="4791"/>
          <a:stretch/>
        </p:blipFill>
        <p:spPr>
          <a:xfrm>
            <a:off x="5078548" y="4356154"/>
            <a:ext cx="6563112" cy="564935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5928026" y="5400601"/>
            <a:ext cx="4810896" cy="2979463"/>
          </a:xfrm>
          <a:custGeom>
            <a:avLst/>
            <a:gdLst>
              <a:gd name="connsiteX0" fmla="*/ 0 w 4810896"/>
              <a:gd name="connsiteY0" fmla="*/ 0 h 2979463"/>
              <a:gd name="connsiteX1" fmla="*/ 4810896 w 4810896"/>
              <a:gd name="connsiteY1" fmla="*/ 0 h 2979463"/>
              <a:gd name="connsiteX2" fmla="*/ 4810896 w 4810896"/>
              <a:gd name="connsiteY2" fmla="*/ 2979463 h 2979463"/>
              <a:gd name="connsiteX3" fmla="*/ 0 w 4810896"/>
              <a:gd name="connsiteY3" fmla="*/ 2979463 h 2979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10896" h="2979463">
                <a:moveTo>
                  <a:pt x="0" y="0"/>
                </a:moveTo>
                <a:lnTo>
                  <a:pt x="4810896" y="0"/>
                </a:lnTo>
                <a:lnTo>
                  <a:pt x="4810896" y="2979463"/>
                </a:lnTo>
                <a:lnTo>
                  <a:pt x="0" y="297946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019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703566" y="2038350"/>
            <a:ext cx="15674082" cy="10143818"/>
          </a:xfrm>
          <a:custGeom>
            <a:avLst/>
            <a:gdLst>
              <a:gd name="connsiteX0" fmla="*/ 0 w 15674082"/>
              <a:gd name="connsiteY0" fmla="*/ 0 h 10143818"/>
              <a:gd name="connsiteX1" fmla="*/ 15674082 w 15674082"/>
              <a:gd name="connsiteY1" fmla="*/ 0 h 10143818"/>
              <a:gd name="connsiteX2" fmla="*/ 15674082 w 15674082"/>
              <a:gd name="connsiteY2" fmla="*/ 10143818 h 10143818"/>
              <a:gd name="connsiteX3" fmla="*/ 0 w 15674082"/>
              <a:gd name="connsiteY3" fmla="*/ 10143818 h 10143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674082" h="10143818">
                <a:moveTo>
                  <a:pt x="0" y="0"/>
                </a:moveTo>
                <a:lnTo>
                  <a:pt x="15674082" y="0"/>
                </a:lnTo>
                <a:lnTo>
                  <a:pt x="15674082" y="10143818"/>
                </a:lnTo>
                <a:lnTo>
                  <a:pt x="0" y="1014381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69308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703566" y="4477798"/>
            <a:ext cx="15674082" cy="7704370"/>
          </a:xfrm>
          <a:custGeom>
            <a:avLst/>
            <a:gdLst>
              <a:gd name="connsiteX0" fmla="*/ 0 w 15674082"/>
              <a:gd name="connsiteY0" fmla="*/ 0 h 7704370"/>
              <a:gd name="connsiteX1" fmla="*/ 15674082 w 15674082"/>
              <a:gd name="connsiteY1" fmla="*/ 0 h 7704370"/>
              <a:gd name="connsiteX2" fmla="*/ 15674082 w 15674082"/>
              <a:gd name="connsiteY2" fmla="*/ 7704370 h 7704370"/>
              <a:gd name="connsiteX3" fmla="*/ 0 w 15674082"/>
              <a:gd name="connsiteY3" fmla="*/ 7704370 h 7704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674082" h="7704370">
                <a:moveTo>
                  <a:pt x="0" y="0"/>
                </a:moveTo>
                <a:lnTo>
                  <a:pt x="15674082" y="0"/>
                </a:lnTo>
                <a:lnTo>
                  <a:pt x="15674082" y="7704370"/>
                </a:lnTo>
                <a:lnTo>
                  <a:pt x="0" y="770437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8187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8703566" y="4477798"/>
            <a:ext cx="7578243" cy="7704370"/>
          </a:xfrm>
          <a:custGeom>
            <a:avLst/>
            <a:gdLst>
              <a:gd name="connsiteX0" fmla="*/ 0 w 7578243"/>
              <a:gd name="connsiteY0" fmla="*/ 0 h 7704370"/>
              <a:gd name="connsiteX1" fmla="*/ 7578243 w 7578243"/>
              <a:gd name="connsiteY1" fmla="*/ 0 h 7704370"/>
              <a:gd name="connsiteX2" fmla="*/ 7578243 w 7578243"/>
              <a:gd name="connsiteY2" fmla="*/ 7704370 h 7704370"/>
              <a:gd name="connsiteX3" fmla="*/ 0 w 7578243"/>
              <a:gd name="connsiteY3" fmla="*/ 7704370 h 7704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78243" h="7704370">
                <a:moveTo>
                  <a:pt x="0" y="0"/>
                </a:moveTo>
                <a:lnTo>
                  <a:pt x="7578243" y="0"/>
                </a:lnTo>
                <a:lnTo>
                  <a:pt x="7578243" y="7704370"/>
                </a:lnTo>
                <a:lnTo>
                  <a:pt x="0" y="770437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16799408" y="4477798"/>
            <a:ext cx="7578242" cy="7704370"/>
          </a:xfrm>
          <a:custGeom>
            <a:avLst/>
            <a:gdLst>
              <a:gd name="connsiteX0" fmla="*/ 0 w 7578242"/>
              <a:gd name="connsiteY0" fmla="*/ 0 h 7704370"/>
              <a:gd name="connsiteX1" fmla="*/ 7578242 w 7578242"/>
              <a:gd name="connsiteY1" fmla="*/ 0 h 7704370"/>
              <a:gd name="connsiteX2" fmla="*/ 7578242 w 7578242"/>
              <a:gd name="connsiteY2" fmla="*/ 7704370 h 7704370"/>
              <a:gd name="connsiteX3" fmla="*/ 0 w 7578242"/>
              <a:gd name="connsiteY3" fmla="*/ 7704370 h 7704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78242" h="7704370">
                <a:moveTo>
                  <a:pt x="0" y="0"/>
                </a:moveTo>
                <a:lnTo>
                  <a:pt x="7578242" y="0"/>
                </a:lnTo>
                <a:lnTo>
                  <a:pt x="7578242" y="7704370"/>
                </a:lnTo>
                <a:lnTo>
                  <a:pt x="0" y="770437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50643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2628900"/>
            <a:ext cx="21533134" cy="8458202"/>
          </a:xfrm>
          <a:custGeom>
            <a:avLst/>
            <a:gdLst>
              <a:gd name="connsiteX0" fmla="*/ 0 w 21533134"/>
              <a:gd name="connsiteY0" fmla="*/ 0 h 8458202"/>
              <a:gd name="connsiteX1" fmla="*/ 21533134 w 21533134"/>
              <a:gd name="connsiteY1" fmla="*/ 0 h 8458202"/>
              <a:gd name="connsiteX2" fmla="*/ 21533134 w 21533134"/>
              <a:gd name="connsiteY2" fmla="*/ 8458202 h 8458202"/>
              <a:gd name="connsiteX3" fmla="*/ 0 w 21533134"/>
              <a:gd name="connsiteY3" fmla="*/ 8458202 h 8458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33134" h="8458202">
                <a:moveTo>
                  <a:pt x="0" y="0"/>
                </a:moveTo>
                <a:lnTo>
                  <a:pt x="21533134" y="0"/>
                </a:lnTo>
                <a:lnTo>
                  <a:pt x="21533134" y="8458202"/>
                </a:lnTo>
                <a:lnTo>
                  <a:pt x="0" y="84582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5164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" y="-5188"/>
            <a:ext cx="24377647" cy="6670289"/>
          </a:xfrm>
          <a:custGeom>
            <a:avLst/>
            <a:gdLst>
              <a:gd name="connsiteX0" fmla="*/ 0 w 24377647"/>
              <a:gd name="connsiteY0" fmla="*/ 0 h 6670289"/>
              <a:gd name="connsiteX1" fmla="*/ 24377647 w 24377647"/>
              <a:gd name="connsiteY1" fmla="*/ 0 h 6670289"/>
              <a:gd name="connsiteX2" fmla="*/ 24377647 w 24377647"/>
              <a:gd name="connsiteY2" fmla="*/ 6670289 h 6670289"/>
              <a:gd name="connsiteX3" fmla="*/ 0 w 24377647"/>
              <a:gd name="connsiteY3" fmla="*/ 6670289 h 6670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77647" h="6670289">
                <a:moveTo>
                  <a:pt x="0" y="0"/>
                </a:moveTo>
                <a:lnTo>
                  <a:pt x="24377647" y="0"/>
                </a:lnTo>
                <a:lnTo>
                  <a:pt x="24377647" y="6670289"/>
                </a:lnTo>
                <a:lnTo>
                  <a:pt x="0" y="667028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8500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11884264" y="152400"/>
            <a:ext cx="9648870" cy="5285462"/>
          </a:xfrm>
          <a:custGeom>
            <a:avLst/>
            <a:gdLst>
              <a:gd name="connsiteX0" fmla="*/ 0 w 9648870"/>
              <a:gd name="connsiteY0" fmla="*/ 0 h 5285462"/>
              <a:gd name="connsiteX1" fmla="*/ 9648870 w 9648870"/>
              <a:gd name="connsiteY1" fmla="*/ 0 h 5285462"/>
              <a:gd name="connsiteX2" fmla="*/ 9648870 w 9648870"/>
              <a:gd name="connsiteY2" fmla="*/ 5285462 h 5285462"/>
              <a:gd name="connsiteX3" fmla="*/ 0 w 9648870"/>
              <a:gd name="connsiteY3" fmla="*/ 5285462 h 5285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48870" h="5285462">
                <a:moveTo>
                  <a:pt x="0" y="0"/>
                </a:moveTo>
                <a:lnTo>
                  <a:pt x="9648870" y="0"/>
                </a:lnTo>
                <a:lnTo>
                  <a:pt x="9648870" y="5285462"/>
                </a:lnTo>
                <a:lnTo>
                  <a:pt x="0" y="52854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11884264" y="5530667"/>
            <a:ext cx="9648870" cy="2670803"/>
          </a:xfrm>
          <a:custGeom>
            <a:avLst/>
            <a:gdLst>
              <a:gd name="connsiteX0" fmla="*/ 0 w 9648870"/>
              <a:gd name="connsiteY0" fmla="*/ 0 h 2670803"/>
              <a:gd name="connsiteX1" fmla="*/ 9648870 w 9648870"/>
              <a:gd name="connsiteY1" fmla="*/ 0 h 2670803"/>
              <a:gd name="connsiteX2" fmla="*/ 9648870 w 9648870"/>
              <a:gd name="connsiteY2" fmla="*/ 2670803 h 2670803"/>
              <a:gd name="connsiteX3" fmla="*/ 0 w 9648870"/>
              <a:gd name="connsiteY3" fmla="*/ 2670803 h 2670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48870" h="2670803">
                <a:moveTo>
                  <a:pt x="0" y="0"/>
                </a:moveTo>
                <a:lnTo>
                  <a:pt x="9648870" y="0"/>
                </a:lnTo>
                <a:lnTo>
                  <a:pt x="9648870" y="2670803"/>
                </a:lnTo>
                <a:lnTo>
                  <a:pt x="0" y="267080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2"/>
          </p:nvPr>
        </p:nvSpPr>
        <p:spPr>
          <a:xfrm>
            <a:off x="11884264" y="8279095"/>
            <a:ext cx="9648870" cy="5284505"/>
          </a:xfrm>
          <a:custGeom>
            <a:avLst/>
            <a:gdLst>
              <a:gd name="connsiteX0" fmla="*/ 0 w 9648870"/>
              <a:gd name="connsiteY0" fmla="*/ 0 h 5284505"/>
              <a:gd name="connsiteX1" fmla="*/ 9648870 w 9648870"/>
              <a:gd name="connsiteY1" fmla="*/ 0 h 5284505"/>
              <a:gd name="connsiteX2" fmla="*/ 9648870 w 9648870"/>
              <a:gd name="connsiteY2" fmla="*/ 5284505 h 5284505"/>
              <a:gd name="connsiteX3" fmla="*/ 0 w 9648870"/>
              <a:gd name="connsiteY3" fmla="*/ 5284505 h 5284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48870" h="5284505">
                <a:moveTo>
                  <a:pt x="0" y="0"/>
                </a:moveTo>
                <a:lnTo>
                  <a:pt x="9648870" y="0"/>
                </a:lnTo>
                <a:lnTo>
                  <a:pt x="9648870" y="5284505"/>
                </a:lnTo>
                <a:lnTo>
                  <a:pt x="0" y="528450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54641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4477798"/>
            <a:ext cx="8703566" cy="7704370"/>
          </a:xfrm>
          <a:custGeom>
            <a:avLst/>
            <a:gdLst>
              <a:gd name="connsiteX0" fmla="*/ 0 w 8703566"/>
              <a:gd name="connsiteY0" fmla="*/ 0 h 7704370"/>
              <a:gd name="connsiteX1" fmla="*/ 8703566 w 8703566"/>
              <a:gd name="connsiteY1" fmla="*/ 0 h 7704370"/>
              <a:gd name="connsiteX2" fmla="*/ 8703566 w 8703566"/>
              <a:gd name="connsiteY2" fmla="*/ 7704370 h 7704370"/>
              <a:gd name="connsiteX3" fmla="*/ 0 w 8703566"/>
              <a:gd name="connsiteY3" fmla="*/ 7704370 h 7704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03566" h="7704370">
                <a:moveTo>
                  <a:pt x="0" y="0"/>
                </a:moveTo>
                <a:lnTo>
                  <a:pt x="8703566" y="0"/>
                </a:lnTo>
                <a:lnTo>
                  <a:pt x="8703566" y="7704370"/>
                </a:lnTo>
                <a:lnTo>
                  <a:pt x="0" y="770437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70787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5674084" y="4477798"/>
            <a:ext cx="8703566" cy="7704370"/>
          </a:xfrm>
          <a:custGeom>
            <a:avLst/>
            <a:gdLst>
              <a:gd name="connsiteX0" fmla="*/ 0 w 8703566"/>
              <a:gd name="connsiteY0" fmla="*/ 0 h 7704370"/>
              <a:gd name="connsiteX1" fmla="*/ 8703566 w 8703566"/>
              <a:gd name="connsiteY1" fmla="*/ 0 h 7704370"/>
              <a:gd name="connsiteX2" fmla="*/ 8703566 w 8703566"/>
              <a:gd name="connsiteY2" fmla="*/ 7704370 h 7704370"/>
              <a:gd name="connsiteX3" fmla="*/ 0 w 8703566"/>
              <a:gd name="connsiteY3" fmla="*/ 7704370 h 7704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03566" h="7704370">
                <a:moveTo>
                  <a:pt x="0" y="0"/>
                </a:moveTo>
                <a:lnTo>
                  <a:pt x="8703566" y="0"/>
                </a:lnTo>
                <a:lnTo>
                  <a:pt x="8703566" y="7704370"/>
                </a:lnTo>
                <a:lnTo>
                  <a:pt x="0" y="770437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505751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2869593" y="2628900"/>
            <a:ext cx="8582784" cy="8458202"/>
          </a:xfrm>
          <a:custGeom>
            <a:avLst/>
            <a:gdLst>
              <a:gd name="connsiteX0" fmla="*/ 0 w 8582784"/>
              <a:gd name="connsiteY0" fmla="*/ 0 h 8458202"/>
              <a:gd name="connsiteX1" fmla="*/ 8582784 w 8582784"/>
              <a:gd name="connsiteY1" fmla="*/ 0 h 8458202"/>
              <a:gd name="connsiteX2" fmla="*/ 8582784 w 8582784"/>
              <a:gd name="connsiteY2" fmla="*/ 8458202 h 8458202"/>
              <a:gd name="connsiteX3" fmla="*/ 0 w 8582784"/>
              <a:gd name="connsiteY3" fmla="*/ 8458202 h 8458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784" h="8458202">
                <a:moveTo>
                  <a:pt x="0" y="0"/>
                </a:moveTo>
                <a:lnTo>
                  <a:pt x="8582784" y="0"/>
                </a:lnTo>
                <a:lnTo>
                  <a:pt x="8582784" y="8458202"/>
                </a:lnTo>
                <a:lnTo>
                  <a:pt x="0" y="84582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176623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-31193" y="1"/>
            <a:ext cx="5608460" cy="13716000"/>
          </a:xfrm>
          <a:custGeom>
            <a:avLst/>
            <a:gdLst>
              <a:gd name="connsiteX0" fmla="*/ 0 w 5608460"/>
              <a:gd name="connsiteY0" fmla="*/ 0 h 13716000"/>
              <a:gd name="connsiteX1" fmla="*/ 5608460 w 5608460"/>
              <a:gd name="connsiteY1" fmla="*/ 0 h 13716000"/>
              <a:gd name="connsiteX2" fmla="*/ 5608460 w 5608460"/>
              <a:gd name="connsiteY2" fmla="*/ 13716000 h 13716000"/>
              <a:gd name="connsiteX3" fmla="*/ 0 w 560846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08460" h="13716000">
                <a:moveTo>
                  <a:pt x="0" y="0"/>
                </a:moveTo>
                <a:lnTo>
                  <a:pt x="5608460" y="0"/>
                </a:lnTo>
                <a:lnTo>
                  <a:pt x="5608460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5971705" y="1"/>
            <a:ext cx="4078464" cy="13716000"/>
          </a:xfrm>
          <a:custGeom>
            <a:avLst/>
            <a:gdLst>
              <a:gd name="connsiteX0" fmla="*/ 0 w 4078464"/>
              <a:gd name="connsiteY0" fmla="*/ 0 h 13716000"/>
              <a:gd name="connsiteX1" fmla="*/ 4078464 w 4078464"/>
              <a:gd name="connsiteY1" fmla="*/ 0 h 13716000"/>
              <a:gd name="connsiteX2" fmla="*/ 4078464 w 4078464"/>
              <a:gd name="connsiteY2" fmla="*/ 13716000 h 13716000"/>
              <a:gd name="connsiteX3" fmla="*/ 0 w 4078464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8464" h="13716000">
                <a:moveTo>
                  <a:pt x="0" y="0"/>
                </a:moveTo>
                <a:lnTo>
                  <a:pt x="4078464" y="0"/>
                </a:lnTo>
                <a:lnTo>
                  <a:pt x="4078464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/>
          </p:nvPr>
        </p:nvSpPr>
        <p:spPr>
          <a:xfrm>
            <a:off x="10053550" y="1"/>
            <a:ext cx="4212338" cy="13716000"/>
          </a:xfrm>
          <a:custGeom>
            <a:avLst/>
            <a:gdLst>
              <a:gd name="connsiteX0" fmla="*/ 0 w 4212338"/>
              <a:gd name="connsiteY0" fmla="*/ 0 h 13716000"/>
              <a:gd name="connsiteX1" fmla="*/ 4212338 w 4212338"/>
              <a:gd name="connsiteY1" fmla="*/ 0 h 13716000"/>
              <a:gd name="connsiteX2" fmla="*/ 4212338 w 4212338"/>
              <a:gd name="connsiteY2" fmla="*/ 13716000 h 13716000"/>
              <a:gd name="connsiteX3" fmla="*/ 0 w 4212338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12338" h="13716000">
                <a:moveTo>
                  <a:pt x="0" y="0"/>
                </a:moveTo>
                <a:lnTo>
                  <a:pt x="4212338" y="0"/>
                </a:lnTo>
                <a:lnTo>
                  <a:pt x="4212338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3"/>
          </p:nvPr>
        </p:nvSpPr>
        <p:spPr>
          <a:xfrm>
            <a:off x="14265888" y="1"/>
            <a:ext cx="4018670" cy="13716000"/>
          </a:xfrm>
          <a:custGeom>
            <a:avLst/>
            <a:gdLst>
              <a:gd name="connsiteX0" fmla="*/ 0 w 4018670"/>
              <a:gd name="connsiteY0" fmla="*/ 0 h 13716000"/>
              <a:gd name="connsiteX1" fmla="*/ 4018670 w 4018670"/>
              <a:gd name="connsiteY1" fmla="*/ 0 h 13716000"/>
              <a:gd name="connsiteX2" fmla="*/ 4018670 w 4018670"/>
              <a:gd name="connsiteY2" fmla="*/ 13716000 h 13716000"/>
              <a:gd name="connsiteX3" fmla="*/ 0 w 401867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18670" h="13716000">
                <a:moveTo>
                  <a:pt x="0" y="0"/>
                </a:moveTo>
                <a:lnTo>
                  <a:pt x="4018670" y="0"/>
                </a:lnTo>
                <a:lnTo>
                  <a:pt x="4018670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4"/>
          </p:nvPr>
        </p:nvSpPr>
        <p:spPr>
          <a:xfrm>
            <a:off x="18689484" y="1"/>
            <a:ext cx="5674828" cy="13716000"/>
          </a:xfrm>
          <a:custGeom>
            <a:avLst/>
            <a:gdLst>
              <a:gd name="connsiteX0" fmla="*/ 0 w 5674828"/>
              <a:gd name="connsiteY0" fmla="*/ 0 h 13716000"/>
              <a:gd name="connsiteX1" fmla="*/ 5674828 w 5674828"/>
              <a:gd name="connsiteY1" fmla="*/ 0 h 13716000"/>
              <a:gd name="connsiteX2" fmla="*/ 5674828 w 5674828"/>
              <a:gd name="connsiteY2" fmla="*/ 13716000 h 13716000"/>
              <a:gd name="connsiteX3" fmla="*/ 0 w 5674828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74828" h="13716000">
                <a:moveTo>
                  <a:pt x="0" y="0"/>
                </a:moveTo>
                <a:lnTo>
                  <a:pt x="5674828" y="0"/>
                </a:lnTo>
                <a:lnTo>
                  <a:pt x="5674828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4859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1675965" y="12712703"/>
            <a:ext cx="5484971" cy="730250"/>
          </a:xfrm>
          <a:prstGeom prst="rect">
            <a:avLst/>
          </a:prstGeom>
        </p:spPr>
        <p:txBody>
          <a:bodyPr/>
          <a:lstStyle/>
          <a:p>
            <a:fld id="{07CE510F-32B7-43AD-A351-4B92210AE462}" type="datetimeFigureOut">
              <a:rPr lang="pt-BR" smtClean="0"/>
              <a:t>08/08/2019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3559861" y="12305122"/>
            <a:ext cx="13655855" cy="720000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1032370" y="12305122"/>
            <a:ext cx="1828376" cy="720000"/>
          </a:xfrm>
          <a:prstGeom prst="rect">
            <a:avLst/>
          </a:prstGeom>
        </p:spPr>
        <p:txBody>
          <a:bodyPr/>
          <a:lstStyle/>
          <a:p>
            <a:fld id="{46F230D2-71B2-42B6-B6F7-4E79ED24579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407687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1218883" y="549275"/>
            <a:ext cx="21939885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9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9600" b="1">
                <a:solidFill>
                  <a:schemeClr val="dk1"/>
                </a:solidFill>
              </a:defRPr>
            </a:lvl2pPr>
            <a:lvl3pPr lvl="2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9600" b="1">
                <a:solidFill>
                  <a:schemeClr val="dk1"/>
                </a:solidFill>
              </a:defRPr>
            </a:lvl3pPr>
            <a:lvl4pPr lvl="3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9600" b="1">
                <a:solidFill>
                  <a:schemeClr val="dk1"/>
                </a:solidFill>
              </a:defRPr>
            </a:lvl4pPr>
            <a:lvl5pPr lvl="4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9600" b="1">
                <a:solidFill>
                  <a:schemeClr val="dk1"/>
                </a:solidFill>
              </a:defRPr>
            </a:lvl5pPr>
            <a:lvl6pPr lvl="5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9600" b="1">
                <a:solidFill>
                  <a:schemeClr val="dk1"/>
                </a:solidFill>
              </a:defRPr>
            </a:lvl6pPr>
            <a:lvl7pPr lvl="6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9600" b="1">
                <a:solidFill>
                  <a:schemeClr val="dk1"/>
                </a:solidFill>
              </a:defRPr>
            </a:lvl7pPr>
            <a:lvl8pPr lvl="7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9600" b="1">
                <a:solidFill>
                  <a:schemeClr val="dk1"/>
                </a:solidFill>
              </a:defRPr>
            </a:lvl8pPr>
            <a:lvl9pPr lvl="8" indent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9600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body" idx="1"/>
          </p:nvPr>
        </p:nvSpPr>
        <p:spPr>
          <a:xfrm>
            <a:off x="1218883" y="3200400"/>
            <a:ext cx="21939885" cy="9935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1219215" marR="0" lvl="0" indent="-60960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8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2438430" marR="0" lvl="1" indent="-60960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657646" marR="0" lvl="2" indent="-60960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6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4876861" marR="0" lvl="3" indent="-60960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4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6096076" marR="0" lvl="4" indent="-60960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4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7315291" marR="0" lvl="5" indent="-60960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4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8534507" marR="0" lvl="6" indent="-60960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4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9753722" marR="0" lvl="7" indent="-60960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4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0972937" marR="0" lvl="8" indent="-60960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4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22812174" y="12666267"/>
            <a:ext cx="1462815" cy="1049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37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37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37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37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37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37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37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37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3733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62667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8245550" y="12973479"/>
            <a:ext cx="76962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aseline="0" dirty="0">
                <a:solidFill>
                  <a:schemeClr val="bg1">
                    <a:lumMod val="75000"/>
                  </a:schemeClr>
                </a:solidFill>
                <a:latin typeface="Helvetica" panose="020B0500000000000000" pitchFamily="34" charset="0"/>
              </a:rPr>
              <a:t>2019</a:t>
            </a:r>
            <a:endParaRPr lang="de-DE" sz="2000" dirty="0">
              <a:solidFill>
                <a:schemeClr val="bg2">
                  <a:lumMod val="25000"/>
                </a:schemeClr>
              </a:solidFill>
              <a:latin typeface="Helvetica" panose="020B0500000000000000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>
          <a:xfrm>
            <a:off x="2" y="-5187"/>
            <a:ext cx="24377648" cy="157588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200000"/>
              </a:lnSpc>
            </a:pPr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endParaRPr lang="de-DE" sz="7196">
              <a:solidFill>
                <a:schemeClr val="bg1"/>
              </a:solidFill>
            </a:endParaRPr>
          </a:p>
        </p:txBody>
      </p:sp>
      <p:sp>
        <p:nvSpPr>
          <p:cNvPr id="4" name="Gleichschenkliges Dreieck 3"/>
          <p:cNvSpPr/>
          <p:nvPr userDrawn="1"/>
        </p:nvSpPr>
        <p:spPr>
          <a:xfrm rot="10800000">
            <a:off x="11286672" y="-10446"/>
            <a:ext cx="1790970" cy="926906"/>
          </a:xfrm>
          <a:prstGeom prst="triangle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 userDrawn="1"/>
        </p:nvSpPr>
        <p:spPr>
          <a:xfrm>
            <a:off x="2" y="13558412"/>
            <a:ext cx="24377648" cy="157588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200000"/>
              </a:lnSpc>
            </a:pPr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endParaRPr lang="de-DE" sz="7196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6729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20"/>
          <p:cNvSpPr/>
          <p:nvPr userDrawn="1"/>
        </p:nvSpPr>
        <p:spPr>
          <a:xfrm>
            <a:off x="-6667" y="-5188"/>
            <a:ext cx="24377648" cy="137211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bg1"/>
              </a:solidFill>
            </a:endParaRPr>
          </a:p>
          <a:p>
            <a:pPr algn="ctr"/>
            <a:endParaRPr lang="de-DE" sz="1600">
              <a:solidFill>
                <a:schemeClr val="bg1"/>
              </a:solidFill>
            </a:endParaRPr>
          </a:p>
          <a:p>
            <a:pPr algn="ctr">
              <a:lnSpc>
                <a:spcPct val="200000"/>
              </a:lnSpc>
            </a:pPr>
            <a:endParaRPr lang="de-DE" sz="1600">
              <a:solidFill>
                <a:schemeClr val="bg1"/>
              </a:solidFill>
            </a:endParaRPr>
          </a:p>
          <a:p>
            <a:pPr algn="ctr"/>
            <a:endParaRPr lang="de-DE" sz="7196">
              <a:solidFill>
                <a:schemeClr val="bg1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" y="-5188"/>
            <a:ext cx="24377647" cy="13721188"/>
          </a:xfrm>
          <a:custGeom>
            <a:avLst/>
            <a:gdLst>
              <a:gd name="connsiteX0" fmla="*/ 0 w 24377647"/>
              <a:gd name="connsiteY0" fmla="*/ 0 h 13721188"/>
              <a:gd name="connsiteX1" fmla="*/ 24377647 w 24377647"/>
              <a:gd name="connsiteY1" fmla="*/ 0 h 13721188"/>
              <a:gd name="connsiteX2" fmla="*/ 24377647 w 24377647"/>
              <a:gd name="connsiteY2" fmla="*/ 13721188 h 13721188"/>
              <a:gd name="connsiteX3" fmla="*/ 0 w 24377647"/>
              <a:gd name="connsiteY3" fmla="*/ 13721188 h 13721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77647" h="13721188">
                <a:moveTo>
                  <a:pt x="0" y="0"/>
                </a:moveTo>
                <a:lnTo>
                  <a:pt x="24377647" y="0"/>
                </a:lnTo>
                <a:lnTo>
                  <a:pt x="24377647" y="13721188"/>
                </a:lnTo>
                <a:lnTo>
                  <a:pt x="0" y="1372118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4603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776747" y="-1"/>
            <a:ext cx="14600905" cy="13716000"/>
          </a:xfrm>
          <a:custGeom>
            <a:avLst/>
            <a:gdLst>
              <a:gd name="connsiteX0" fmla="*/ 8613149 w 14600905"/>
              <a:gd name="connsiteY0" fmla="*/ 0 h 13716000"/>
              <a:gd name="connsiteX1" fmla="*/ 14600905 w 14600905"/>
              <a:gd name="connsiteY1" fmla="*/ 0 h 13716000"/>
              <a:gd name="connsiteX2" fmla="*/ 14600905 w 14600905"/>
              <a:gd name="connsiteY2" fmla="*/ 13716000 h 13716000"/>
              <a:gd name="connsiteX3" fmla="*/ 0 w 14600905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00905" h="13716000">
                <a:moveTo>
                  <a:pt x="8613149" y="0"/>
                </a:moveTo>
                <a:lnTo>
                  <a:pt x="14600905" y="0"/>
                </a:lnTo>
                <a:lnTo>
                  <a:pt x="14600905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04479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5249833" cy="13716000"/>
          </a:xfrm>
          <a:custGeom>
            <a:avLst/>
            <a:gdLst>
              <a:gd name="connsiteX0" fmla="*/ 0 w 15249833"/>
              <a:gd name="connsiteY0" fmla="*/ 0 h 13716000"/>
              <a:gd name="connsiteX1" fmla="*/ 6253878 w 15249833"/>
              <a:gd name="connsiteY1" fmla="*/ 0 h 13716000"/>
              <a:gd name="connsiteX2" fmla="*/ 15249833 w 15249833"/>
              <a:gd name="connsiteY2" fmla="*/ 13716000 h 13716000"/>
              <a:gd name="connsiteX3" fmla="*/ 0 w 15249833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49833" h="13716000">
                <a:moveTo>
                  <a:pt x="0" y="0"/>
                </a:moveTo>
                <a:lnTo>
                  <a:pt x="6253878" y="0"/>
                </a:lnTo>
                <a:lnTo>
                  <a:pt x="15249833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08518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6956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  <p:sldLayoutId id="2147483742" r:id="rId41"/>
    <p:sldLayoutId id="2147483743" r:id="rId42"/>
    <p:sldLayoutId id="2147483744" r:id="rId43"/>
    <p:sldLayoutId id="2147483745" r:id="rId44"/>
    <p:sldLayoutId id="2147483746" r:id="rId45"/>
    <p:sldLayoutId id="2147483747" r:id="rId46"/>
    <p:sldLayoutId id="2147483748" r:id="rId47"/>
    <p:sldLayoutId id="2147483749" r:id="rId48"/>
    <p:sldLayoutId id="2147483750" r:id="rId49"/>
    <p:sldLayoutId id="2147483751" r:id="rId50"/>
    <p:sldLayoutId id="2147483752" r:id="rId51"/>
    <p:sldLayoutId id="2147483753" r:id="rId52"/>
    <p:sldLayoutId id="2147483754" r:id="rId53"/>
    <p:sldLayoutId id="2147483755" r:id="rId54"/>
    <p:sldLayoutId id="2147483756" r:id="rId55"/>
    <p:sldLayoutId id="2147483757" r:id="rId56"/>
    <p:sldLayoutId id="2147483758" r:id="rId57"/>
    <p:sldLayoutId id="2147483759" r:id="rId58"/>
    <p:sldLayoutId id="2147483760" r:id="rId59"/>
    <p:sldLayoutId id="2147483761" r:id="rId60"/>
    <p:sldLayoutId id="2147483762" r:id="rId61"/>
    <p:sldLayoutId id="2147483763" r:id="rId62"/>
    <p:sldLayoutId id="2147483764" r:id="rId63"/>
    <p:sldLayoutId id="2147483765" r:id="rId64"/>
    <p:sldLayoutId id="2147483766" r:id="rId65"/>
    <p:sldLayoutId id="2147483768" r:id="rId66"/>
    <p:sldLayoutId id="2147483769" r:id="rId67"/>
  </p:sldLayoutIdLst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599" kern="1200">
          <a:solidFill>
            <a:schemeClr val="tx1"/>
          </a:solidFill>
          <a:latin typeface="+mn-lt"/>
          <a:ea typeface="+mn-ea"/>
          <a:cs typeface="+mn-cs"/>
        </a:defRPr>
      </a:lvl1pPr>
      <a:lvl2pPr marL="13712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2285429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999" kern="1200">
          <a:solidFill>
            <a:schemeClr val="tx1"/>
          </a:solidFill>
          <a:latin typeface="+mn-lt"/>
          <a:ea typeface="+mn-ea"/>
          <a:cs typeface="+mn-cs"/>
        </a:defRPr>
      </a:lvl3pPr>
      <a:lvl4pPr marL="3199600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4113771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5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0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5.png"/><Relationship Id="rId5" Type="http://schemas.openxmlformats.org/officeDocument/2006/relationships/image" Target="../media/image12.png"/><Relationship Id="rId10" Type="http://schemas.openxmlformats.org/officeDocument/2006/relationships/image" Target="../media/image16.png"/><Relationship Id="rId4" Type="http://schemas.openxmlformats.org/officeDocument/2006/relationships/image" Target="../media/image11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9.jpeg"/><Relationship Id="rId18" Type="http://schemas.openxmlformats.org/officeDocument/2006/relationships/image" Target="../media/image24.jpeg"/><Relationship Id="rId3" Type="http://schemas.openxmlformats.org/officeDocument/2006/relationships/tags" Target="../tags/tag3.xml"/><Relationship Id="rId21" Type="http://schemas.openxmlformats.org/officeDocument/2006/relationships/image" Target="../media/image27.png"/><Relationship Id="rId7" Type="http://schemas.openxmlformats.org/officeDocument/2006/relationships/tags" Target="../tags/tag7.xml"/><Relationship Id="rId12" Type="http://schemas.openxmlformats.org/officeDocument/2006/relationships/image" Target="../media/image18.jpeg"/><Relationship Id="rId17" Type="http://schemas.openxmlformats.org/officeDocument/2006/relationships/image" Target="../media/image23.png"/><Relationship Id="rId2" Type="http://schemas.openxmlformats.org/officeDocument/2006/relationships/tags" Target="../tags/tag2.xml"/><Relationship Id="rId16" Type="http://schemas.openxmlformats.org/officeDocument/2006/relationships/image" Target="../media/image22.jpeg"/><Relationship Id="rId20" Type="http://schemas.openxmlformats.org/officeDocument/2006/relationships/image" Target="../media/image26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tags" Target="../tags/tag5.xml"/><Relationship Id="rId15" Type="http://schemas.openxmlformats.org/officeDocument/2006/relationships/image" Target="../media/image21.jpeg"/><Relationship Id="rId23" Type="http://schemas.openxmlformats.org/officeDocument/2006/relationships/image" Target="../media/image29.png"/><Relationship Id="rId10" Type="http://schemas.openxmlformats.org/officeDocument/2006/relationships/notesSlide" Target="../notesSlides/notesSlide4.xml"/><Relationship Id="rId19" Type="http://schemas.openxmlformats.org/officeDocument/2006/relationships/image" Target="../media/image25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20.png"/><Relationship Id="rId22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xmlns="" id="{576EAA6C-9A62-47D0-B195-A373E588BE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377652" cy="13712429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xmlns="" id="{FAB6F95C-6A49-4971-9C1B-29C4A75070E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7214" y="12896145"/>
            <a:ext cx="3926036" cy="558549"/>
          </a:xfrm>
          <a:prstGeom prst="rect">
            <a:avLst/>
          </a:prstGeom>
        </p:spPr>
      </p:pic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xmlns="" id="{BCEAD484-7A70-4063-ABF5-E7FE4EE42392}"/>
              </a:ext>
            </a:extLst>
          </p:cNvPr>
          <p:cNvCxnSpPr>
            <a:cxnSpLocks/>
          </p:cNvCxnSpPr>
          <p:nvPr/>
        </p:nvCxnSpPr>
        <p:spPr>
          <a:xfrm>
            <a:off x="20165203" y="13000893"/>
            <a:ext cx="0" cy="64213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2866" y="-3312663"/>
            <a:ext cx="5113520" cy="1560622"/>
          </a:xfrm>
          <a:prstGeom prst="rect">
            <a:avLst/>
          </a:prstGeom>
        </p:spPr>
      </p:pic>
      <p:sp>
        <p:nvSpPr>
          <p:cNvPr id="13" name="Textfeld 3">
            <a:extLst>
              <a:ext uri="{FF2B5EF4-FFF2-40B4-BE49-F238E27FC236}">
                <a16:creationId xmlns:a16="http://schemas.microsoft.com/office/drawing/2014/main" xmlns="" id="{4C1AFD8B-1BDF-4C3F-B2F3-3087B86DF338}"/>
              </a:ext>
            </a:extLst>
          </p:cNvPr>
          <p:cNvSpPr txBox="1"/>
          <p:nvPr/>
        </p:nvSpPr>
        <p:spPr>
          <a:xfrm>
            <a:off x="1046032" y="4301669"/>
            <a:ext cx="1219317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4800" i="1">
                <a:solidFill>
                  <a:srgbClr val="FFFFFF"/>
                </a:solidFill>
                <a:latin typeface="Lato"/>
              </a:defRPr>
            </a:lvl1pPr>
          </a:lstStyle>
          <a:p>
            <a:r>
              <a:rPr lang="pt-BR" sz="8000" b="1" i="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ede Nacional de Dados em Saúde – RNDS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xmlns="" id="{E5DDC08B-91F2-4E56-ABDA-0B85905B136D}"/>
              </a:ext>
            </a:extLst>
          </p:cNvPr>
          <p:cNvSpPr txBox="1"/>
          <p:nvPr/>
        </p:nvSpPr>
        <p:spPr>
          <a:xfrm>
            <a:off x="19829908" y="10337992"/>
            <a:ext cx="2963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b="1" dirty="0">
                <a:solidFill>
                  <a:schemeClr val="bg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Brasília, </a:t>
            </a:r>
            <a:r>
              <a:rPr lang="pt-BR" b="1" dirty="0" smtClean="0">
                <a:solidFill>
                  <a:schemeClr val="bg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Agosto </a:t>
            </a:r>
            <a:r>
              <a:rPr lang="pt-BR" b="1" dirty="0">
                <a:solidFill>
                  <a:schemeClr val="bg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de 2019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16" b="29956"/>
          <a:stretch/>
        </p:blipFill>
        <p:spPr>
          <a:xfrm>
            <a:off x="817432" y="595946"/>
            <a:ext cx="5911614" cy="2318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42835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8"/>
          <a:stretch/>
        </p:blipFill>
        <p:spPr>
          <a:xfrm>
            <a:off x="-1" y="16933"/>
            <a:ext cx="24360469" cy="13716000"/>
          </a:xfrm>
          <a:prstGeom prst="rect">
            <a:avLst/>
          </a:prstGeom>
        </p:spPr>
      </p:pic>
      <p:sp>
        <p:nvSpPr>
          <p:cNvPr id="42" name="Textfeld 3">
            <a:extLst>
              <a:ext uri="{FF2B5EF4-FFF2-40B4-BE49-F238E27FC236}">
                <a16:creationId xmlns:a16="http://schemas.microsoft.com/office/drawing/2014/main" xmlns="" id="{4C1AFD8B-1BDF-4C3F-B2F3-3087B86DF338}"/>
              </a:ext>
            </a:extLst>
          </p:cNvPr>
          <p:cNvSpPr txBox="1"/>
          <p:nvPr/>
        </p:nvSpPr>
        <p:spPr>
          <a:xfrm>
            <a:off x="1436744" y="1369043"/>
            <a:ext cx="1664805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BJETIVO DA RNDS</a:t>
            </a:r>
            <a:endParaRPr lang="en-US" sz="12000" b="1" i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0" y="12506632"/>
            <a:ext cx="24377650" cy="120936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9" name="Imagem 38">
            <a:extLst>
              <a:ext uri="{FF2B5EF4-FFF2-40B4-BE49-F238E27FC236}">
                <a16:creationId xmlns:a16="http://schemas.microsoft.com/office/drawing/2014/main" xmlns="" id="{47761B97-FCE7-4D3E-BF76-F34496D8F6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54" y="12883498"/>
            <a:ext cx="1334546" cy="405227"/>
          </a:xfrm>
          <a:prstGeom prst="rect">
            <a:avLst/>
          </a:prstGeom>
        </p:spPr>
      </p:pic>
      <p:pic>
        <p:nvPicPr>
          <p:cNvPr id="34" name="Imagem 33">
            <a:extLst>
              <a:ext uri="{FF2B5EF4-FFF2-40B4-BE49-F238E27FC236}">
                <a16:creationId xmlns:a16="http://schemas.microsoft.com/office/drawing/2014/main" xmlns="" id="{FAB6F95C-6A49-4971-9C1B-29C4A75070E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7214" y="12778750"/>
            <a:ext cx="3926036" cy="558549"/>
          </a:xfrm>
          <a:prstGeom prst="rect">
            <a:avLst/>
          </a:prstGeom>
        </p:spPr>
      </p:pic>
      <p:cxnSp>
        <p:nvCxnSpPr>
          <p:cNvPr id="40" name="Conector reto 39">
            <a:extLst>
              <a:ext uri="{FF2B5EF4-FFF2-40B4-BE49-F238E27FC236}">
                <a16:creationId xmlns:a16="http://schemas.microsoft.com/office/drawing/2014/main" xmlns="" id="{BCEAD484-7A70-4063-ABF5-E7FE4EE42392}"/>
              </a:ext>
            </a:extLst>
          </p:cNvPr>
          <p:cNvCxnSpPr>
            <a:cxnSpLocks/>
          </p:cNvCxnSpPr>
          <p:nvPr/>
        </p:nvCxnSpPr>
        <p:spPr>
          <a:xfrm>
            <a:off x="20165203" y="12883498"/>
            <a:ext cx="0" cy="64213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3">
            <a:extLst>
              <a:ext uri="{FF2B5EF4-FFF2-40B4-BE49-F238E27FC236}">
                <a16:creationId xmlns:a16="http://schemas.microsoft.com/office/drawing/2014/main" xmlns="" id="{4C1AFD8B-1BDF-4C3F-B2F3-3087B86DF338}"/>
              </a:ext>
            </a:extLst>
          </p:cNvPr>
          <p:cNvSpPr txBox="1"/>
          <p:nvPr/>
        </p:nvSpPr>
        <p:spPr>
          <a:xfrm>
            <a:off x="1453926" y="4466275"/>
            <a:ext cx="13126598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 err="1">
                <a:solidFill>
                  <a:srgbClr val="FFFFFF"/>
                </a:solidFill>
              </a:rPr>
              <a:t>Promover</a:t>
            </a:r>
            <a:r>
              <a:rPr lang="en-US" sz="6000" dirty="0">
                <a:solidFill>
                  <a:srgbClr val="FFFFFF"/>
                </a:solidFill>
              </a:rPr>
              <a:t> a </a:t>
            </a:r>
            <a:r>
              <a:rPr lang="en-US" sz="6000" dirty="0" err="1">
                <a:solidFill>
                  <a:srgbClr val="FFFFFF"/>
                </a:solidFill>
              </a:rPr>
              <a:t>criação</a:t>
            </a:r>
            <a:r>
              <a:rPr lang="en-US" sz="6000" dirty="0">
                <a:solidFill>
                  <a:srgbClr val="FFFFFF"/>
                </a:solidFill>
              </a:rPr>
              <a:t> de um </a:t>
            </a:r>
            <a:r>
              <a:rPr lang="en-US" sz="6000" b="1" dirty="0" err="1">
                <a:solidFill>
                  <a:srgbClr val="FFFFFF"/>
                </a:solidFill>
              </a:rPr>
              <a:t>Prontuário</a:t>
            </a:r>
            <a:r>
              <a:rPr lang="en-US" sz="6000" b="1" dirty="0">
                <a:solidFill>
                  <a:srgbClr val="FFFFFF"/>
                </a:solidFill>
              </a:rPr>
              <a:t> </a:t>
            </a:r>
            <a:r>
              <a:rPr lang="en-US" sz="6000" b="1" dirty="0" err="1">
                <a:solidFill>
                  <a:srgbClr val="FFFFFF"/>
                </a:solidFill>
              </a:rPr>
              <a:t>Único</a:t>
            </a:r>
            <a:r>
              <a:rPr lang="en-US" sz="6000" b="1" dirty="0">
                <a:solidFill>
                  <a:srgbClr val="FFFFFF"/>
                </a:solidFill>
              </a:rPr>
              <a:t> do </a:t>
            </a:r>
            <a:r>
              <a:rPr lang="en-US" sz="6000" b="1" dirty="0" err="1">
                <a:solidFill>
                  <a:srgbClr val="FFFFFF"/>
                </a:solidFill>
              </a:rPr>
              <a:t>Paciente</a:t>
            </a:r>
            <a:r>
              <a:rPr lang="en-US" sz="6000" dirty="0">
                <a:solidFill>
                  <a:srgbClr val="FFFFFF"/>
                </a:solidFill>
              </a:rPr>
              <a:t> </a:t>
            </a:r>
            <a:r>
              <a:rPr lang="en-US" sz="6000" dirty="0" err="1">
                <a:solidFill>
                  <a:srgbClr val="FFFFFF"/>
                </a:solidFill>
              </a:rPr>
              <a:t>através</a:t>
            </a:r>
            <a:r>
              <a:rPr lang="en-US" sz="6000" dirty="0">
                <a:solidFill>
                  <a:srgbClr val="FFFFFF"/>
                </a:solidFill>
              </a:rPr>
              <a:t> da </a:t>
            </a:r>
            <a:r>
              <a:rPr lang="en-US" sz="6000" dirty="0" err="1">
                <a:solidFill>
                  <a:srgbClr val="FFFFFF"/>
                </a:solidFill>
              </a:rPr>
              <a:t>troca</a:t>
            </a:r>
            <a:r>
              <a:rPr lang="en-US" sz="6000" dirty="0">
                <a:solidFill>
                  <a:srgbClr val="FFFFFF"/>
                </a:solidFill>
              </a:rPr>
              <a:t> de </a:t>
            </a:r>
            <a:r>
              <a:rPr lang="en-US" sz="6000" dirty="0" err="1">
                <a:solidFill>
                  <a:srgbClr val="FFFFFF"/>
                </a:solidFill>
              </a:rPr>
              <a:t>informações</a:t>
            </a:r>
            <a:r>
              <a:rPr lang="en-US" sz="6000" dirty="0">
                <a:solidFill>
                  <a:srgbClr val="FFFFFF"/>
                </a:solidFill>
              </a:rPr>
              <a:t> entre </a:t>
            </a:r>
            <a:r>
              <a:rPr lang="en-US" sz="6000" dirty="0" err="1">
                <a:solidFill>
                  <a:srgbClr val="FFFFFF"/>
                </a:solidFill>
              </a:rPr>
              <a:t>os</a:t>
            </a:r>
            <a:r>
              <a:rPr lang="en-US" sz="6000" dirty="0">
                <a:solidFill>
                  <a:srgbClr val="FFFFFF"/>
                </a:solidFill>
              </a:rPr>
              <a:t> </a:t>
            </a:r>
            <a:r>
              <a:rPr lang="en-US" sz="6000" dirty="0" err="1">
                <a:solidFill>
                  <a:srgbClr val="FFFFFF"/>
                </a:solidFill>
              </a:rPr>
              <a:t>diversos</a:t>
            </a:r>
            <a:r>
              <a:rPr lang="en-US" sz="6000" dirty="0">
                <a:solidFill>
                  <a:srgbClr val="FFFFFF"/>
                </a:solidFill>
              </a:rPr>
              <a:t> </a:t>
            </a:r>
            <a:r>
              <a:rPr lang="en-US" sz="6000" dirty="0" err="1">
                <a:solidFill>
                  <a:srgbClr val="FFFFFF"/>
                </a:solidFill>
              </a:rPr>
              <a:t>níveis</a:t>
            </a:r>
            <a:r>
              <a:rPr lang="en-US" sz="6000" dirty="0">
                <a:solidFill>
                  <a:srgbClr val="FFFFFF"/>
                </a:solidFill>
              </a:rPr>
              <a:t> de </a:t>
            </a:r>
            <a:r>
              <a:rPr lang="en-US" sz="6000" dirty="0" err="1">
                <a:solidFill>
                  <a:srgbClr val="FFFFFF"/>
                </a:solidFill>
              </a:rPr>
              <a:t>atenção</a:t>
            </a:r>
            <a:r>
              <a:rPr lang="en-US" sz="6000" dirty="0">
                <a:solidFill>
                  <a:srgbClr val="FFFFFF"/>
                </a:solidFill>
              </a:rPr>
              <a:t> à Saúde, </a:t>
            </a:r>
            <a:r>
              <a:rPr lang="en-US" sz="6000" dirty="0" err="1">
                <a:solidFill>
                  <a:srgbClr val="FFFFFF"/>
                </a:solidFill>
              </a:rPr>
              <a:t>permitindo</a:t>
            </a:r>
            <a:r>
              <a:rPr lang="en-US" sz="6000" dirty="0">
                <a:solidFill>
                  <a:srgbClr val="FFFFFF"/>
                </a:solidFill>
              </a:rPr>
              <a:t> a </a:t>
            </a:r>
            <a:r>
              <a:rPr lang="en-US" sz="6000" b="1" dirty="0" err="1">
                <a:solidFill>
                  <a:srgbClr val="FFFFFF"/>
                </a:solidFill>
              </a:rPr>
              <a:t>continuidade</a:t>
            </a:r>
            <a:r>
              <a:rPr lang="en-US" sz="6000" b="1" dirty="0">
                <a:solidFill>
                  <a:srgbClr val="FFFFFF"/>
                </a:solidFill>
              </a:rPr>
              <a:t> </a:t>
            </a:r>
            <a:r>
              <a:rPr lang="en-US" sz="6000" dirty="0">
                <a:solidFill>
                  <a:srgbClr val="FFFFFF"/>
                </a:solidFill>
              </a:rPr>
              <a:t>do </a:t>
            </a:r>
            <a:r>
              <a:rPr lang="en-US" sz="6000" dirty="0" err="1" smtClean="0">
                <a:solidFill>
                  <a:srgbClr val="FFFFFF"/>
                </a:solidFill>
              </a:rPr>
              <a:t>cuidado</a:t>
            </a:r>
            <a:r>
              <a:rPr lang="en-US" sz="6000" dirty="0" smtClean="0">
                <a:solidFill>
                  <a:srgbClr val="FFFFFF"/>
                </a:solidFill>
              </a:rPr>
              <a:t> </a:t>
            </a:r>
            <a:r>
              <a:rPr lang="en-US" sz="6000" dirty="0" err="1" smtClean="0">
                <a:solidFill>
                  <a:srgbClr val="FFFFFF"/>
                </a:solidFill>
              </a:rPr>
              <a:t>nos</a:t>
            </a:r>
            <a:r>
              <a:rPr lang="en-US" sz="6000" dirty="0" smtClean="0">
                <a:solidFill>
                  <a:srgbClr val="FFFFFF"/>
                </a:solidFill>
              </a:rPr>
              <a:t> </a:t>
            </a:r>
            <a:r>
              <a:rPr lang="en-US" sz="6000" dirty="0" err="1" smtClean="0">
                <a:solidFill>
                  <a:srgbClr val="FFFFFF"/>
                </a:solidFill>
              </a:rPr>
              <a:t>setores</a:t>
            </a:r>
            <a:r>
              <a:rPr lang="en-US" sz="6000" dirty="0" smtClean="0">
                <a:solidFill>
                  <a:srgbClr val="FFFFFF"/>
                </a:solidFill>
              </a:rPr>
              <a:t> </a:t>
            </a:r>
            <a:r>
              <a:rPr lang="en-US" sz="6000" dirty="0" err="1" smtClean="0">
                <a:solidFill>
                  <a:srgbClr val="FFFFFF"/>
                </a:solidFill>
              </a:rPr>
              <a:t>público</a:t>
            </a:r>
            <a:r>
              <a:rPr lang="en-US" sz="6000" dirty="0" smtClean="0">
                <a:solidFill>
                  <a:srgbClr val="FFFFFF"/>
                </a:solidFill>
              </a:rPr>
              <a:t> e </a:t>
            </a:r>
            <a:r>
              <a:rPr lang="en-US" sz="6000" dirty="0" err="1" smtClean="0">
                <a:solidFill>
                  <a:srgbClr val="FFFFFF"/>
                </a:solidFill>
              </a:rPr>
              <a:t>privado</a:t>
            </a:r>
            <a:r>
              <a:rPr lang="en-US" sz="6000" dirty="0" smtClean="0">
                <a:solidFill>
                  <a:srgbClr val="FFFFFF"/>
                </a:solidFill>
              </a:rPr>
              <a:t>.</a:t>
            </a:r>
            <a:endParaRPr lang="en-US" sz="6000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005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Imagem 44">
            <a:extLst>
              <a:ext uri="{FF2B5EF4-FFF2-40B4-BE49-F238E27FC236}">
                <a16:creationId xmlns:a16="http://schemas.microsoft.com/office/drawing/2014/main" xmlns="" id="{D54E8AA9-ABE8-49A7-9FC1-E35513D7CC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6057" y="1901188"/>
            <a:ext cx="2035138" cy="2674144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25134" y="1549594"/>
            <a:ext cx="2035138" cy="2674144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427" y="521492"/>
            <a:ext cx="11133514" cy="11391900"/>
          </a:xfrm>
          <a:prstGeom prst="rect">
            <a:avLst/>
          </a:prstGeom>
        </p:spPr>
      </p:pic>
      <p:sp>
        <p:nvSpPr>
          <p:cNvPr id="38" name="Retângulo 37"/>
          <p:cNvSpPr/>
          <p:nvPr/>
        </p:nvSpPr>
        <p:spPr>
          <a:xfrm>
            <a:off x="14911497" y="7769491"/>
            <a:ext cx="8231136" cy="3702074"/>
          </a:xfrm>
          <a:prstGeom prst="rect">
            <a:avLst/>
          </a:prstGeom>
          <a:solidFill>
            <a:srgbClr val="FF0000">
              <a:alpha val="36000"/>
            </a:srgb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AutoShape 4" descr="esultado de imagem para healhmonitor icon png"/>
          <p:cNvSpPr>
            <a:spLocks noChangeAspect="1" noChangeArrowheads="1"/>
          </p:cNvSpPr>
          <p:nvPr/>
        </p:nvSpPr>
        <p:spPr bwMode="auto">
          <a:xfrm>
            <a:off x="0" y="1787"/>
            <a:ext cx="609441" cy="609441"/>
          </a:xfrm>
          <a:prstGeom prst="rect">
            <a:avLst/>
          </a:prstGeom>
          <a:noFill/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pt-BR" sz="3599"/>
          </a:p>
        </p:txBody>
      </p:sp>
      <p:sp>
        <p:nvSpPr>
          <p:cNvPr id="6" name="AutoShape 10" descr="mage result for icon flat bigdata"/>
          <p:cNvSpPr>
            <a:spLocks noChangeAspect="1" noChangeArrowheads="1"/>
          </p:cNvSpPr>
          <p:nvPr/>
        </p:nvSpPr>
        <p:spPr bwMode="auto">
          <a:xfrm>
            <a:off x="304761" y="305653"/>
            <a:ext cx="609521" cy="609521"/>
          </a:xfrm>
          <a:prstGeom prst="rect">
            <a:avLst/>
          </a:prstGeom>
          <a:noFill/>
        </p:spPr>
        <p:txBody>
          <a:bodyPr vert="horz" wrap="square" lIns="182856" tIns="91428" rIns="182856" bIns="91428" numCol="1" anchor="t" anchorCtr="0" compatLnSpc="1">
            <a:prstTxWarp prst="textNoShape">
              <a:avLst/>
            </a:prstTxWarp>
          </a:bodyPr>
          <a:lstStyle/>
          <a:p>
            <a:endParaRPr lang="pt-BR" sz="3599"/>
          </a:p>
        </p:txBody>
      </p:sp>
      <p:sp>
        <p:nvSpPr>
          <p:cNvPr id="7" name="Oval 6"/>
          <p:cNvSpPr/>
          <p:nvPr/>
        </p:nvSpPr>
        <p:spPr>
          <a:xfrm>
            <a:off x="15489230" y="8208357"/>
            <a:ext cx="432000" cy="43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>
            <a:off x="16269917" y="8157744"/>
            <a:ext cx="65545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/>
              <a:t>Registro de Atendimento Clínico</a:t>
            </a:r>
            <a:endParaRPr lang="pt-BR" sz="2000" b="1" dirty="0"/>
          </a:p>
        </p:txBody>
      </p:sp>
      <p:sp>
        <p:nvSpPr>
          <p:cNvPr id="28" name="CaixaDeTexto 27"/>
          <p:cNvSpPr txBox="1"/>
          <p:nvPr/>
        </p:nvSpPr>
        <p:spPr>
          <a:xfrm>
            <a:off x="16280550" y="9899736"/>
            <a:ext cx="58720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/>
              <a:t>Medicamentos (dispensação)</a:t>
            </a:r>
          </a:p>
        </p:txBody>
      </p:sp>
      <p:sp>
        <p:nvSpPr>
          <p:cNvPr id="30" name="CaixaDeTexto 29"/>
          <p:cNvSpPr txBox="1"/>
          <p:nvPr/>
        </p:nvSpPr>
        <p:spPr>
          <a:xfrm>
            <a:off x="16269917" y="9230972"/>
            <a:ext cx="66776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/>
              <a:t>Sumário de Alta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16928252" y="8719592"/>
            <a:ext cx="609799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600" b="1" dirty="0" smtClean="0"/>
              <a:t>Exames realizados</a:t>
            </a:r>
            <a:endParaRPr lang="pt-BR" sz="2600" b="1" dirty="0"/>
          </a:p>
        </p:txBody>
      </p:sp>
      <p:sp>
        <p:nvSpPr>
          <p:cNvPr id="9" name="Oval 8"/>
          <p:cNvSpPr/>
          <p:nvPr/>
        </p:nvSpPr>
        <p:spPr>
          <a:xfrm>
            <a:off x="9453017" y="2463832"/>
            <a:ext cx="2595716" cy="2351291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Oval 34"/>
          <p:cNvSpPr/>
          <p:nvPr/>
        </p:nvSpPr>
        <p:spPr>
          <a:xfrm>
            <a:off x="3473984" y="8194615"/>
            <a:ext cx="1242718" cy="1175645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Oval 35"/>
          <p:cNvSpPr/>
          <p:nvPr/>
        </p:nvSpPr>
        <p:spPr>
          <a:xfrm>
            <a:off x="9327945" y="8116077"/>
            <a:ext cx="1242718" cy="1175645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/>
          <p:cNvSpPr/>
          <p:nvPr/>
        </p:nvSpPr>
        <p:spPr>
          <a:xfrm>
            <a:off x="11061436" y="10014552"/>
            <a:ext cx="1526938" cy="1780852"/>
          </a:xfrm>
          <a:prstGeom prst="rect">
            <a:avLst/>
          </a:prstGeom>
          <a:solidFill>
            <a:schemeClr val="accent6">
              <a:lumMod val="20000"/>
              <a:lumOff val="80000"/>
              <a:alpha val="36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Retângulo 36"/>
          <p:cNvSpPr/>
          <p:nvPr/>
        </p:nvSpPr>
        <p:spPr>
          <a:xfrm>
            <a:off x="5193664" y="10014552"/>
            <a:ext cx="1526938" cy="1780852"/>
          </a:xfrm>
          <a:prstGeom prst="rect">
            <a:avLst/>
          </a:prstGeom>
          <a:solidFill>
            <a:schemeClr val="accent6">
              <a:lumMod val="20000"/>
              <a:lumOff val="80000"/>
              <a:alpha val="36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3" name="CaixaDeTexto 32"/>
          <p:cNvSpPr txBox="1">
            <a:spLocks/>
          </p:cNvSpPr>
          <p:nvPr/>
        </p:nvSpPr>
        <p:spPr>
          <a:xfrm>
            <a:off x="19754832" y="2492517"/>
            <a:ext cx="392603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b="1" dirty="0">
                <a:solidFill>
                  <a:schemeClr val="accent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odelos Informacionais</a:t>
            </a:r>
          </a:p>
          <a:p>
            <a:r>
              <a:rPr lang="pt-BR" sz="4000" b="1" dirty="0">
                <a:solidFill>
                  <a:schemeClr val="accent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Pactuados </a:t>
            </a:r>
          </a:p>
          <a:p>
            <a:r>
              <a:rPr lang="pt-BR" sz="4000" b="1" dirty="0">
                <a:solidFill>
                  <a:schemeClr val="accent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na CIT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92867" y="2843012"/>
            <a:ext cx="4231121" cy="3555942"/>
          </a:xfrm>
          <a:prstGeom prst="rect">
            <a:avLst/>
          </a:prstGeom>
        </p:spPr>
      </p:pic>
      <p:pic>
        <p:nvPicPr>
          <p:cNvPr id="34" name="Imagem 33">
            <a:extLst>
              <a:ext uri="{FF2B5EF4-FFF2-40B4-BE49-F238E27FC236}">
                <a16:creationId xmlns:a16="http://schemas.microsoft.com/office/drawing/2014/main" xmlns="" id="{FAB6F95C-6A49-4971-9C1B-29C4A75070E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7214" y="12778750"/>
            <a:ext cx="3926036" cy="558549"/>
          </a:xfrm>
          <a:prstGeom prst="rect">
            <a:avLst/>
          </a:prstGeom>
        </p:spPr>
      </p:pic>
      <p:cxnSp>
        <p:nvCxnSpPr>
          <p:cNvPr id="40" name="Conector reto 39">
            <a:extLst>
              <a:ext uri="{FF2B5EF4-FFF2-40B4-BE49-F238E27FC236}">
                <a16:creationId xmlns:a16="http://schemas.microsoft.com/office/drawing/2014/main" xmlns="" id="{BCEAD484-7A70-4063-ABF5-E7FE4EE42392}"/>
              </a:ext>
            </a:extLst>
          </p:cNvPr>
          <p:cNvCxnSpPr>
            <a:cxnSpLocks/>
          </p:cNvCxnSpPr>
          <p:nvPr/>
        </p:nvCxnSpPr>
        <p:spPr>
          <a:xfrm>
            <a:off x="20165203" y="12883498"/>
            <a:ext cx="0" cy="64213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agem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26431" y="8206390"/>
            <a:ext cx="604893" cy="514397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26431" y="9377123"/>
            <a:ext cx="566147" cy="482373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26431" y="9996926"/>
            <a:ext cx="557598" cy="474847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26431" y="10662594"/>
            <a:ext cx="546505" cy="465091"/>
          </a:xfrm>
          <a:prstGeom prst="rect">
            <a:avLst/>
          </a:prstGeom>
        </p:spPr>
      </p:pic>
      <p:pic>
        <p:nvPicPr>
          <p:cNvPr id="41" name="Imagem 4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15390" y="1579775"/>
            <a:ext cx="557598" cy="474847"/>
          </a:xfrm>
          <a:prstGeom prst="rect">
            <a:avLst/>
          </a:prstGeom>
        </p:spPr>
      </p:pic>
      <p:pic>
        <p:nvPicPr>
          <p:cNvPr id="42" name="Imagem 4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31254" y="3785339"/>
            <a:ext cx="604893" cy="514397"/>
          </a:xfrm>
          <a:prstGeom prst="rect">
            <a:avLst/>
          </a:prstGeom>
        </p:spPr>
      </p:pic>
      <p:pic>
        <p:nvPicPr>
          <p:cNvPr id="43" name="Imagem 4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50445" y="4481212"/>
            <a:ext cx="566147" cy="482373"/>
          </a:xfrm>
          <a:prstGeom prst="rect">
            <a:avLst/>
          </a:prstGeom>
        </p:spPr>
      </p:pic>
      <p:pic>
        <p:nvPicPr>
          <p:cNvPr id="44" name="Imagem 4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62248" y="1981853"/>
            <a:ext cx="546505" cy="465091"/>
          </a:xfrm>
          <a:prstGeom prst="rect">
            <a:avLst/>
          </a:prstGeom>
        </p:spPr>
      </p:pic>
      <p:sp>
        <p:nvSpPr>
          <p:cNvPr id="15" name="Elipse 14"/>
          <p:cNvSpPr/>
          <p:nvPr/>
        </p:nvSpPr>
        <p:spPr>
          <a:xfrm>
            <a:off x="1430552" y="7039818"/>
            <a:ext cx="403749" cy="39391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Elipse 38"/>
          <p:cNvSpPr/>
          <p:nvPr/>
        </p:nvSpPr>
        <p:spPr>
          <a:xfrm>
            <a:off x="7408019" y="6914341"/>
            <a:ext cx="403749" cy="39391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Elipse 45"/>
          <p:cNvSpPr/>
          <p:nvPr/>
        </p:nvSpPr>
        <p:spPr>
          <a:xfrm>
            <a:off x="1026803" y="12581792"/>
            <a:ext cx="403749" cy="39391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7" name="CaixaDeTexto 46"/>
          <p:cNvSpPr txBox="1">
            <a:spLocks/>
          </p:cNvSpPr>
          <p:nvPr/>
        </p:nvSpPr>
        <p:spPr>
          <a:xfrm>
            <a:off x="1665794" y="12562740"/>
            <a:ext cx="76621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accent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A Infraestrutura será em </a:t>
            </a:r>
            <a:r>
              <a:rPr lang="pt-BR" sz="2400" b="1" dirty="0" err="1">
                <a:solidFill>
                  <a:schemeClr val="accent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Cloud</a:t>
            </a:r>
            <a:r>
              <a:rPr lang="pt-BR" sz="2400" b="1" dirty="0">
                <a:solidFill>
                  <a:schemeClr val="accent1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 fornecida pelo MS</a:t>
            </a:r>
          </a:p>
        </p:txBody>
      </p:sp>
      <p:sp>
        <p:nvSpPr>
          <p:cNvPr id="49" name="CaixaDeTexto 48"/>
          <p:cNvSpPr txBox="1"/>
          <p:nvPr/>
        </p:nvSpPr>
        <p:spPr>
          <a:xfrm>
            <a:off x="16269917" y="10570114"/>
            <a:ext cx="45617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/>
              <a:t>Imunização (vacinas)</a:t>
            </a:r>
            <a:endParaRPr lang="pt-BR" sz="3200" b="1" dirty="0"/>
          </a:p>
        </p:txBody>
      </p:sp>
      <p:cxnSp>
        <p:nvCxnSpPr>
          <p:cNvPr id="18" name="Conector reto 17"/>
          <p:cNvCxnSpPr/>
          <p:nvPr/>
        </p:nvCxnSpPr>
        <p:spPr>
          <a:xfrm flipV="1">
            <a:off x="16628990" y="8940979"/>
            <a:ext cx="236296" cy="2472"/>
          </a:xfrm>
          <a:prstGeom prst="line">
            <a:avLst/>
          </a:prstGeom>
          <a:ln w="762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6250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29"/>
          <p:cNvSpPr txBox="1">
            <a:spLocks noGrp="1"/>
          </p:cNvSpPr>
          <p:nvPr>
            <p:ph type="title"/>
          </p:nvPr>
        </p:nvSpPr>
        <p:spPr>
          <a:xfrm>
            <a:off x="830983" y="172476"/>
            <a:ext cx="23107581" cy="1526802"/>
          </a:xfrm>
          <a:prstGeom prst="rect">
            <a:avLst/>
          </a:prstGeom>
        </p:spPr>
        <p:txBody>
          <a:bodyPr spcFirstLastPara="1" vert="horz" wrap="square" lIns="243737" tIns="243737" rIns="243737" bIns="243737" rtlCol="0" anchor="t" anchorCtr="0">
            <a:noAutofit/>
          </a:bodyPr>
          <a:lstStyle/>
          <a:p>
            <a:r>
              <a:rPr lang="pt-BR" sz="8000" dirty="0">
                <a:solidFill>
                  <a:schemeClr val="accent5">
                    <a:lumMod val="50000"/>
                  </a:schemeClr>
                </a:solidFill>
              </a:rPr>
              <a:t>Privacidade de Dados na RNDS</a:t>
            </a:r>
          </a:p>
        </p:txBody>
      </p:sp>
      <p:pic>
        <p:nvPicPr>
          <p:cNvPr id="181" name="Imagem 17">
            <a:extLst>
              <a:ext uri="{FF2B5EF4-FFF2-40B4-BE49-F238E27FC236}">
                <a16:creationId xmlns:a16="http://schemas.microsoft.com/office/drawing/2014/main" xmlns="" id="{25BB291A-D520-4520-BE26-D56C7725DA7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6999" y="3172308"/>
            <a:ext cx="1553137" cy="2815063"/>
          </a:xfrm>
          <a:prstGeom prst="rect">
            <a:avLst/>
          </a:prstGeom>
        </p:spPr>
      </p:pic>
      <p:pic>
        <p:nvPicPr>
          <p:cNvPr id="1034" name="Picture 10" descr="Imagem relacionada">
            <a:extLst>
              <a:ext uri="{FF2B5EF4-FFF2-40B4-BE49-F238E27FC236}">
                <a16:creationId xmlns:a16="http://schemas.microsoft.com/office/drawing/2014/main" xmlns="" id="{D602B06F-45F2-4490-8268-A6973B2C4D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4"/>
          <a:stretch/>
        </p:blipFill>
        <p:spPr bwMode="auto">
          <a:xfrm>
            <a:off x="1152548" y="9957291"/>
            <a:ext cx="2504532" cy="1968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4" name="Google Shape;197;p29">
            <a:extLst>
              <a:ext uri="{FF2B5EF4-FFF2-40B4-BE49-F238E27FC236}">
                <a16:creationId xmlns:a16="http://schemas.microsoft.com/office/drawing/2014/main" xmlns="" id="{24892076-C92B-469A-82C8-52035C288D07}"/>
              </a:ext>
            </a:extLst>
          </p:cNvPr>
          <p:cNvCxnSpPr>
            <a:cxnSpLocks/>
          </p:cNvCxnSpPr>
          <p:nvPr/>
        </p:nvCxnSpPr>
        <p:spPr>
          <a:xfrm>
            <a:off x="645517" y="1488377"/>
            <a:ext cx="22396244" cy="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xmlns="" id="{78E9FD0B-9A92-4256-AD2C-348F0E237C82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 flipV="1">
            <a:off x="6492363" y="7948112"/>
            <a:ext cx="15619931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D458CDEF-6E3C-4F94-8631-2A2295E3D144}"/>
              </a:ext>
            </a:extLst>
          </p:cNvPr>
          <p:cNvGrpSpPr/>
          <p:nvPr/>
        </p:nvGrpSpPr>
        <p:grpSpPr>
          <a:xfrm>
            <a:off x="12966626" y="4149511"/>
            <a:ext cx="6056644" cy="5450978"/>
            <a:chOff x="3992873" y="3069020"/>
            <a:chExt cx="1280091" cy="1365809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xmlns="" id="{958BF2AF-96FA-47AC-B303-4297F2B3BDFB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>
            <a:xfrm>
              <a:off x="3992873" y="3069020"/>
              <a:ext cx="1219200" cy="393201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 defTabSz="1828343">
                <a:defRPr/>
              </a:pPr>
              <a:r>
                <a:rPr lang="en-GB" sz="3199" b="1" dirty="0">
                  <a:solidFill>
                    <a:prstClr val="black"/>
                  </a:solidFill>
                  <a:latin typeface="Calibri" panose="020F0502020204030204"/>
                </a:rPr>
                <a:t>ACESSO CONTROLADO AO HISTÓRICO CLÍNICO DO PACIENTE</a:t>
              </a: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xmlns="" id="{FFB91B34-1670-4352-A035-63B6DFD53213}"/>
                </a:ext>
              </a:extLst>
            </p:cNvPr>
            <p:cNvGrpSpPr/>
            <p:nvPr/>
          </p:nvGrpSpPr>
          <p:grpSpPr>
            <a:xfrm>
              <a:off x="4009841" y="3452023"/>
              <a:ext cx="1263123" cy="982806"/>
              <a:chOff x="1530530" y="1580915"/>
              <a:chExt cx="2249382" cy="1728192"/>
            </a:xfrm>
          </p:grpSpPr>
          <p:pic>
            <p:nvPicPr>
              <p:cNvPr id="66" name="Picture 4" descr="http://t1.gstatic.com/images?q=tbn:ANd9GcQuT5JvAedghk4pAWQB0OgbYwbr2wCncYgwsRK18FGf1oYbGW5M-w">
                <a:extLst>
                  <a:ext uri="{FF2B5EF4-FFF2-40B4-BE49-F238E27FC236}">
                    <a16:creationId xmlns:a16="http://schemas.microsoft.com/office/drawing/2014/main" xmlns="" id="{E2C91B41-0D7D-4D67-8C48-AE5627BAC68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2688631" y="2805051"/>
                <a:ext cx="432048" cy="432049"/>
              </a:xfrm>
              <a:prstGeom prst="rect">
                <a:avLst/>
              </a:prstGeom>
              <a:noFill/>
            </p:spPr>
          </p:pic>
          <p:pic>
            <p:nvPicPr>
              <p:cNvPr id="67" name="Picture 4" descr="http://t1.gstatic.com/images?q=tbn:ANd9GcQuT5JvAedghk4pAWQB0OgbYwbr2wCncYgwsRK18FGf1oYbGW5M-w">
                <a:extLst>
                  <a:ext uri="{FF2B5EF4-FFF2-40B4-BE49-F238E27FC236}">
                    <a16:creationId xmlns:a16="http://schemas.microsoft.com/office/drawing/2014/main" xmlns="" id="{4EE504D4-D24C-4DE2-80C8-296878D1EF0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2760639" y="1724931"/>
                <a:ext cx="432048" cy="432049"/>
              </a:xfrm>
              <a:prstGeom prst="rect">
                <a:avLst/>
              </a:prstGeom>
              <a:noFill/>
            </p:spPr>
          </p:pic>
          <p:pic>
            <p:nvPicPr>
              <p:cNvPr id="68" name="Picture 2">
                <a:extLst>
                  <a:ext uri="{FF2B5EF4-FFF2-40B4-BE49-F238E27FC236}">
                    <a16:creationId xmlns:a16="http://schemas.microsoft.com/office/drawing/2014/main" xmlns="" id="{BFC1869A-A94B-49A8-9BF2-D0B4FF0C2B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3120679" y="1580915"/>
                <a:ext cx="659233" cy="5036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9" name="Picture 3" descr="C:\Users\SERGIO~1.MON\AppData\Local\Temp\Rar$DI05.073\images.jpg">
                <a:extLst>
                  <a:ext uri="{FF2B5EF4-FFF2-40B4-BE49-F238E27FC236}">
                    <a16:creationId xmlns:a16="http://schemas.microsoft.com/office/drawing/2014/main" xmlns="" id="{60105294-0C84-4948-9DE6-34816232E6C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3023271" y="2589027"/>
                <a:ext cx="720080" cy="720080"/>
              </a:xfrm>
              <a:prstGeom prst="rect">
                <a:avLst/>
              </a:prstGeom>
              <a:noFill/>
            </p:spPr>
          </p:pic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xmlns="" id="{66FF2991-9EFD-4C24-A0A9-34EF5F7F69FC}"/>
                  </a:ext>
                </a:extLst>
              </p:cNvPr>
              <p:cNvGrpSpPr/>
              <p:nvPr/>
            </p:nvGrpSpPr>
            <p:grpSpPr>
              <a:xfrm>
                <a:off x="1968551" y="2156979"/>
                <a:ext cx="1008112" cy="720080"/>
                <a:chOff x="1835696" y="2158256"/>
                <a:chExt cx="1008112" cy="720080"/>
              </a:xfrm>
            </p:grpSpPr>
            <p:pic>
              <p:nvPicPr>
                <p:cNvPr id="72" name="Picture 14" descr="http://t3.gstatic.com/images?q=tbn:ANd9GcRlNC9s0lQ0H8TLS6NQ4bdPDxgaa_pVcf5PvaaJqXDLPEqjYie9">
                  <a:extLst>
                    <a:ext uri="{FF2B5EF4-FFF2-40B4-BE49-F238E27FC236}">
                      <a16:creationId xmlns:a16="http://schemas.microsoft.com/office/drawing/2014/main" xmlns="" id="{60B580FF-CA71-467F-95B7-462953B1063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6" cstate="print"/>
                <a:srcRect/>
                <a:stretch>
                  <a:fillRect/>
                </a:stretch>
              </p:blipFill>
              <p:spPr bwMode="auto">
                <a:xfrm>
                  <a:off x="2016416" y="2334479"/>
                  <a:ext cx="624068" cy="374441"/>
                </a:xfrm>
                <a:prstGeom prst="rect">
                  <a:avLst/>
                </a:prstGeom>
                <a:noFill/>
              </p:spPr>
            </p:pic>
            <p:sp>
              <p:nvSpPr>
                <p:cNvPr id="73" name="Cloud 72">
                  <a:extLst>
                    <a:ext uri="{FF2B5EF4-FFF2-40B4-BE49-F238E27FC236}">
                      <a16:creationId xmlns:a16="http://schemas.microsoft.com/office/drawing/2014/main" xmlns="" id="{5FB7A15C-BDD5-4419-93DD-38061BC24072}"/>
                    </a:ext>
                  </a:extLst>
                </p:cNvPr>
                <p:cNvSpPr/>
                <p:nvPr/>
              </p:nvSpPr>
              <p:spPr>
                <a:xfrm>
                  <a:off x="1835696" y="2158256"/>
                  <a:ext cx="1008112" cy="720080"/>
                </a:xfrm>
                <a:prstGeom prst="cloud">
                  <a:avLst/>
                </a:prstGeom>
                <a:solidFill>
                  <a:schemeClr val="bg1">
                    <a:lumMod val="75000"/>
                    <a:alpha val="22000"/>
                  </a:schemeClr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828343">
                    <a:defRPr/>
                  </a:pPr>
                  <a:endParaRPr lang="en-US" sz="3599">
                    <a:solidFill>
                      <a:srgbClr val="29486D"/>
                    </a:solidFill>
                    <a:latin typeface="Calibri" panose="020F0502020204030204"/>
                  </a:endParaRPr>
                </a:p>
              </p:txBody>
            </p:sp>
          </p:grpSp>
          <p:pic>
            <p:nvPicPr>
              <p:cNvPr id="71" name="Picture 3" descr="C:\Accenture\2011\from Dave B\Dave Bunker\NEHTA Icon Set\Icon Library 2.12.09\Doctor Examine\Doctor_examine.png">
                <a:extLst>
                  <a:ext uri="{FF2B5EF4-FFF2-40B4-BE49-F238E27FC236}">
                    <a16:creationId xmlns:a16="http://schemas.microsoft.com/office/drawing/2014/main" xmlns="" id="{F24D5315-6D43-4141-B6F3-76924C74D3E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>
                <a:off x="1530530" y="2204864"/>
                <a:ext cx="394750" cy="542784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AE53BF08-BB4C-476F-9180-2C7A3E2A9A24}"/>
              </a:ext>
            </a:extLst>
          </p:cNvPr>
          <p:cNvGrpSpPr/>
          <p:nvPr/>
        </p:nvGrpSpPr>
        <p:grpSpPr>
          <a:xfrm>
            <a:off x="6625473" y="5465007"/>
            <a:ext cx="4195005" cy="3565429"/>
            <a:chOff x="7450171" y="2656120"/>
            <a:chExt cx="2098049" cy="1783179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xmlns="" id="{1A77AFA6-50E8-46EB-9E98-7816958E4F73}"/>
                </a:ext>
              </a:extLst>
            </p:cNvPr>
            <p:cNvGrpSpPr/>
            <p:nvPr/>
          </p:nvGrpSpPr>
          <p:grpSpPr>
            <a:xfrm>
              <a:off x="7450171" y="2656120"/>
              <a:ext cx="2098049" cy="1783179"/>
              <a:chOff x="5238197" y="2743089"/>
              <a:chExt cx="2098049" cy="1783179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xmlns="" id="{AA9ECFF4-EE9D-4E67-A86E-45956B0EA451}"/>
                  </a:ext>
                </a:extLst>
              </p:cNvPr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5238197" y="2743089"/>
                <a:ext cx="2098049" cy="538621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/>
              <a:p>
                <a:pPr algn="ctr" defTabSz="1828343">
                  <a:defRPr/>
                </a:pPr>
                <a:r>
                  <a:rPr lang="en-GB" sz="3199" b="1" dirty="0">
                    <a:solidFill>
                      <a:prstClr val="black"/>
                    </a:solidFill>
                    <a:latin typeface="Calibri" panose="020F0502020204030204"/>
                  </a:rPr>
                  <a:t>CONSENTIMENTO</a:t>
                </a:r>
              </a:p>
              <a:p>
                <a:pPr algn="ctr" defTabSz="1828343">
                  <a:defRPr/>
                </a:pPr>
                <a:r>
                  <a:rPr lang="en-GB" sz="3199" b="1" dirty="0">
                    <a:solidFill>
                      <a:prstClr val="black"/>
                    </a:solidFill>
                    <a:latin typeface="Calibri" panose="020F0502020204030204"/>
                  </a:rPr>
                  <a:t>ARMAZENADO</a:t>
                </a:r>
              </a:p>
            </p:txBody>
          </p: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xmlns="" id="{B880F1F7-D037-444E-9390-AEE97ED551B1}"/>
                  </a:ext>
                </a:extLst>
              </p:cNvPr>
              <p:cNvGrpSpPr/>
              <p:nvPr/>
            </p:nvGrpSpPr>
            <p:grpSpPr>
              <a:xfrm>
                <a:off x="5775936" y="3535668"/>
                <a:ext cx="990600" cy="990600"/>
                <a:chOff x="5775936" y="3535668"/>
                <a:chExt cx="990600" cy="990600"/>
              </a:xfrm>
            </p:grpSpPr>
            <p:pic>
              <p:nvPicPr>
                <p:cNvPr id="59" name="Picture 5" descr="http://www.chatsworth.com/uploadedImages/Files/GLOBALFRAME_600W_RGB72_200.jpg">
                  <a:extLst>
                    <a:ext uri="{FF2B5EF4-FFF2-40B4-BE49-F238E27FC236}">
                      <a16:creationId xmlns:a16="http://schemas.microsoft.com/office/drawing/2014/main" xmlns="" id="{5983BC52-386C-4E52-884F-244D760CFE0A}"/>
                    </a:ext>
                  </a:extLst>
                </p:cNvPr>
                <p:cNvPicPr>
                  <a:picLocks noChangeAspect="1" noChangeArrowheads="1"/>
                </p:cNvPicPr>
                <p:nvPr>
                  <p:custDataLst>
                    <p:tags r:id="rId7"/>
                  </p:custDataLst>
                </p:nvPr>
              </p:nvPicPr>
              <p:blipFill>
                <a:blip r:embed="rId18" cstate="email"/>
                <a:srcRect/>
                <a:stretch>
                  <a:fillRect/>
                </a:stretch>
              </p:blipFill>
              <p:spPr bwMode="auto">
                <a:xfrm>
                  <a:off x="5775936" y="3535668"/>
                  <a:ext cx="990600" cy="990600"/>
                </a:xfrm>
                <a:prstGeom prst="rect">
                  <a:avLst/>
                </a:prstGeom>
                <a:noFill/>
              </p:spPr>
            </p:pic>
            <p:sp>
              <p:nvSpPr>
                <p:cNvPr id="60" name="Freeform 141">
                  <a:extLst>
                    <a:ext uri="{FF2B5EF4-FFF2-40B4-BE49-F238E27FC236}">
                      <a16:creationId xmlns:a16="http://schemas.microsoft.com/office/drawing/2014/main" xmlns="" id="{B7D35D2C-8E36-41CD-85C3-1EEA2276EE32}"/>
                    </a:ext>
                  </a:extLst>
                </p:cNvPr>
                <p:cNvSpPr/>
                <p:nvPr/>
              </p:nvSpPr>
              <p:spPr>
                <a:xfrm>
                  <a:off x="6509118" y="3914678"/>
                  <a:ext cx="182880" cy="114300"/>
                </a:xfrm>
                <a:custGeom>
                  <a:avLst/>
                  <a:gdLst>
                    <a:gd name="connsiteX0" fmla="*/ 0 w 182880"/>
                    <a:gd name="connsiteY0" fmla="*/ 81280 h 114300"/>
                    <a:gd name="connsiteX1" fmla="*/ 76200 w 182880"/>
                    <a:gd name="connsiteY1" fmla="*/ 5080 h 114300"/>
                    <a:gd name="connsiteX2" fmla="*/ 106680 w 182880"/>
                    <a:gd name="connsiteY2" fmla="*/ 111760 h 114300"/>
                    <a:gd name="connsiteX3" fmla="*/ 182880 w 182880"/>
                    <a:gd name="connsiteY3" fmla="*/ 20320 h 114300"/>
                    <a:gd name="connsiteX4" fmla="*/ 182880 w 182880"/>
                    <a:gd name="connsiteY4" fmla="*/ 20320 h 114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2880" h="114300">
                      <a:moveTo>
                        <a:pt x="0" y="81280"/>
                      </a:moveTo>
                      <a:cubicBezTo>
                        <a:pt x="29210" y="40640"/>
                        <a:pt x="58420" y="0"/>
                        <a:pt x="76200" y="5080"/>
                      </a:cubicBezTo>
                      <a:cubicBezTo>
                        <a:pt x="93980" y="10160"/>
                        <a:pt x="88900" y="109220"/>
                        <a:pt x="106680" y="111760"/>
                      </a:cubicBezTo>
                      <a:cubicBezTo>
                        <a:pt x="124460" y="114300"/>
                        <a:pt x="182880" y="20320"/>
                        <a:pt x="182880" y="20320"/>
                      </a:cubicBezTo>
                      <a:lnTo>
                        <a:pt x="182880" y="20320"/>
                      </a:lnTo>
                    </a:path>
                  </a:pathLst>
                </a:custGeom>
                <a:ln w="2540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 defTabSz="1828343">
                    <a:defRPr/>
                  </a:pPr>
                  <a:endParaRPr lang="en-GB" sz="3599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</p:grpSp>
        <p:sp>
          <p:nvSpPr>
            <p:cNvPr id="61" name="Cloud 60">
              <a:extLst>
                <a:ext uri="{FF2B5EF4-FFF2-40B4-BE49-F238E27FC236}">
                  <a16:creationId xmlns:a16="http://schemas.microsoft.com/office/drawing/2014/main" xmlns="" id="{BFD74CA3-E77E-45CD-A90C-59A36B0F4594}"/>
                </a:ext>
              </a:extLst>
            </p:cNvPr>
            <p:cNvSpPr/>
            <p:nvPr/>
          </p:nvSpPr>
          <p:spPr>
            <a:xfrm>
              <a:off x="8887066" y="3761586"/>
              <a:ext cx="457200" cy="304800"/>
            </a:xfrm>
            <a:prstGeom prst="cloud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343">
                <a:defRPr/>
              </a:pPr>
              <a:endParaRPr lang="en-GB" sz="3599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xmlns="" id="{B936230A-23E1-4252-B427-39CC6348F353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613115" y="5465005"/>
            <a:ext cx="2879250" cy="251934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xmlns="" id="{6263EFDF-A06F-4580-A25F-3658793821C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 flipV="1">
            <a:off x="3613117" y="7922617"/>
            <a:ext cx="2879250" cy="251934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B6D17F77-D8AC-4494-A999-528B505D03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97076" y="6879450"/>
            <a:ext cx="4195005" cy="156927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1828343">
              <a:defRPr/>
            </a:pPr>
            <a:r>
              <a:rPr lang="en-GB" sz="3199" b="1" dirty="0">
                <a:solidFill>
                  <a:prstClr val="black"/>
                </a:solidFill>
                <a:latin typeface="Calibri" panose="020F0502020204030204"/>
              </a:rPr>
              <a:t>CIDADÃO CONSENTE ACESSOS AO SEU HISTÓRICO CLÍNIC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2B43AA30-0642-441C-A3E2-9B5D98FF0B22}"/>
              </a:ext>
            </a:extLst>
          </p:cNvPr>
          <p:cNvSpPr/>
          <p:nvPr/>
        </p:nvSpPr>
        <p:spPr>
          <a:xfrm>
            <a:off x="6833514" y="10658753"/>
            <a:ext cx="15619931" cy="2061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343">
              <a:defRPr/>
            </a:pPr>
            <a:r>
              <a:rPr lang="pt-BR" sz="6398" i="1" dirty="0">
                <a:solidFill>
                  <a:prstClr val="black"/>
                </a:solidFill>
                <a:latin typeface="Calibri" panose="020F0502020204030204"/>
              </a:rPr>
              <a:t>“Toda informação só pode </a:t>
            </a:r>
            <a:r>
              <a:rPr lang="pt-BR" sz="6398" i="1">
                <a:solidFill>
                  <a:prstClr val="black"/>
                </a:solidFill>
                <a:latin typeface="Calibri" panose="020F0502020204030204"/>
              </a:rPr>
              <a:t>ser acessada </a:t>
            </a:r>
            <a:r>
              <a:rPr lang="pt-BR" sz="6398" i="1" dirty="0">
                <a:solidFill>
                  <a:prstClr val="black"/>
                </a:solidFill>
                <a:latin typeface="Calibri" panose="020F0502020204030204"/>
              </a:rPr>
              <a:t>pelo cidadão ou por usuários por ele autorizados"</a:t>
            </a:r>
          </a:p>
        </p:txBody>
      </p:sp>
      <p:pic>
        <p:nvPicPr>
          <p:cNvPr id="91" name="Imagem 17">
            <a:extLst>
              <a:ext uri="{FF2B5EF4-FFF2-40B4-BE49-F238E27FC236}">
                <a16:creationId xmlns:a16="http://schemas.microsoft.com/office/drawing/2014/main" xmlns="" id="{EBCCCC96-CDB8-4635-A969-15F6EB7664E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6547" y="6621993"/>
            <a:ext cx="1553137" cy="2815063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321839C1-C12E-48A0-A0B5-2520B57886B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0982193" y="4275878"/>
            <a:ext cx="3395458" cy="206159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1828343">
              <a:defRPr/>
            </a:pPr>
            <a:r>
              <a:rPr lang="en-GB" sz="3199" b="1" dirty="0">
                <a:solidFill>
                  <a:prstClr val="black"/>
                </a:solidFill>
                <a:latin typeface="Calibri" panose="020F0502020204030204"/>
              </a:rPr>
              <a:t>CIDADÃO TEM ACESSO AO SEU HISTÓRICO CLÍNICO</a:t>
            </a:r>
          </a:p>
        </p:txBody>
      </p:sp>
      <p:pic>
        <p:nvPicPr>
          <p:cNvPr id="94" name="Picture 2" descr="C:\Accenture\2011\from Dave B\Dave Bunker\NEHTA Icon Set\Icon Library 2.12.09\Hospital\Hospital.png">
            <a:extLst>
              <a:ext uri="{FF2B5EF4-FFF2-40B4-BE49-F238E27FC236}">
                <a16:creationId xmlns:a16="http://schemas.microsoft.com/office/drawing/2014/main" xmlns="" id="{1A5A0B8D-C40D-4DB1-9E4B-ECDE0E5C05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499700" y="12100256"/>
            <a:ext cx="1544536" cy="1060624"/>
          </a:xfrm>
          <a:prstGeom prst="rect">
            <a:avLst/>
          </a:prstGeom>
          <a:noFill/>
        </p:spPr>
      </p:pic>
      <p:pic>
        <p:nvPicPr>
          <p:cNvPr id="95" name="Picture 8" descr="C:\Accenture\Current\Health Icons\Set 1\Clinic.png">
            <a:extLst>
              <a:ext uri="{FF2B5EF4-FFF2-40B4-BE49-F238E27FC236}">
                <a16:creationId xmlns:a16="http://schemas.microsoft.com/office/drawing/2014/main" xmlns="" id="{158191BA-8605-4A0B-8032-DD9D01F3F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940" y="11909816"/>
            <a:ext cx="788944" cy="57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95" descr="C:\Accenture\Current\Health Icons\Set 1\Allied_Health.png">
            <a:extLst>
              <a:ext uri="{FF2B5EF4-FFF2-40B4-BE49-F238E27FC236}">
                <a16:creationId xmlns:a16="http://schemas.microsoft.com/office/drawing/2014/main" xmlns="" id="{E1CC8BD9-430D-4D8D-BF43-7171518067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7248" y="11780016"/>
            <a:ext cx="719813" cy="71981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9" descr="C:\Accenture\Current\Health Icons\Set 1\Care_Team.png">
            <a:extLst>
              <a:ext uri="{FF2B5EF4-FFF2-40B4-BE49-F238E27FC236}">
                <a16:creationId xmlns:a16="http://schemas.microsoft.com/office/drawing/2014/main" xmlns="" id="{A91DEC52-8864-48C6-89E7-B06670E55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408" y="10832880"/>
            <a:ext cx="832671" cy="446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Picture 8" descr="C:\Accenture\2011\from Dave B\Dave Bunker\NEHTA Icon Set\Icon Library 2.12.09\Aged Care\Aged_Care.png">
            <a:extLst>
              <a:ext uri="{FF2B5EF4-FFF2-40B4-BE49-F238E27FC236}">
                <a16:creationId xmlns:a16="http://schemas.microsoft.com/office/drawing/2014/main" xmlns="" id="{B4617EC5-8992-4BC6-8343-19DD8DA18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3744795" y="10767972"/>
            <a:ext cx="738726" cy="575850"/>
          </a:xfrm>
          <a:prstGeom prst="rect">
            <a:avLst/>
          </a:prstGeom>
          <a:noFill/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FAF7C82E-6DCF-4AC0-9F8E-02EBCD6AC7F9}"/>
              </a:ext>
            </a:extLst>
          </p:cNvPr>
          <p:cNvGrpSpPr/>
          <p:nvPr/>
        </p:nvGrpSpPr>
        <p:grpSpPr>
          <a:xfrm>
            <a:off x="20436317" y="312341"/>
            <a:ext cx="3552557" cy="2927106"/>
            <a:chOff x="10155504" y="5119199"/>
            <a:chExt cx="1776741" cy="1463934"/>
          </a:xfrm>
        </p:grpSpPr>
        <p:pic>
          <p:nvPicPr>
            <p:cNvPr id="3076" name="Picture 4" descr="Resultado de imagem para SELO SEGURO png">
              <a:extLst>
                <a:ext uri="{FF2B5EF4-FFF2-40B4-BE49-F238E27FC236}">
                  <a16:creationId xmlns:a16="http://schemas.microsoft.com/office/drawing/2014/main" xmlns="" id="{FA3B94E0-1F13-4847-88EA-856510ECD2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55504" y="5119199"/>
              <a:ext cx="1776741" cy="14639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6354B4C9-135E-4886-8BB8-BF479ED25576}"/>
                </a:ext>
              </a:extLst>
            </p:cNvPr>
            <p:cNvSpPr txBox="1"/>
            <p:nvPr/>
          </p:nvSpPr>
          <p:spPr>
            <a:xfrm>
              <a:off x="10384969" y="6045085"/>
              <a:ext cx="1332000" cy="23082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 defTabSz="1828343">
                <a:defRPr/>
              </a:pPr>
              <a:r>
                <a:rPr lang="pt-BR" sz="2399" b="1" dirty="0">
                  <a:solidFill>
                    <a:prstClr val="black"/>
                  </a:solidFill>
                  <a:latin typeface="Arial Black" panose="020B0A04020102020204" pitchFamily="34" charset="0"/>
                </a:rPr>
                <a:t>LGPD</a:t>
              </a:r>
              <a:endParaRPr lang="pt-BR" sz="2000" b="1" dirty="0">
                <a:solidFill>
                  <a:prstClr val="black"/>
                </a:solidFill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632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Rechteck 22"/>
          <p:cNvSpPr/>
          <p:nvPr/>
        </p:nvSpPr>
        <p:spPr>
          <a:xfrm rot="16200000">
            <a:off x="15625919" y="-1346217"/>
            <a:ext cx="668588" cy="998557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38100" dist="381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05" name="Rechteck 22"/>
          <p:cNvSpPr/>
          <p:nvPr/>
        </p:nvSpPr>
        <p:spPr>
          <a:xfrm rot="16200000">
            <a:off x="5519533" y="-1346368"/>
            <a:ext cx="668588" cy="999273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38100" dist="381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1892683" y="787582"/>
            <a:ext cx="2053515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0" b="1" dirty="0">
                <a:solidFill>
                  <a:schemeClr val="accent1">
                    <a:lumMod val="50000"/>
                  </a:schemeClr>
                </a:solidFill>
              </a:rPr>
              <a:t>Cronograma </a:t>
            </a:r>
            <a:r>
              <a:rPr lang="de-DE" sz="8000" b="1" dirty="0" smtClean="0">
                <a:solidFill>
                  <a:schemeClr val="accent1">
                    <a:lumMod val="50000"/>
                  </a:schemeClr>
                </a:solidFill>
              </a:rPr>
              <a:t>da RNDS </a:t>
            </a:r>
            <a:r>
              <a:rPr lang="de-DE" sz="8000" b="1" dirty="0">
                <a:solidFill>
                  <a:schemeClr val="accent1">
                    <a:lumMod val="50000"/>
                  </a:schemeClr>
                </a:solidFill>
              </a:rPr>
              <a:t>- 2019/2022</a:t>
            </a:r>
          </a:p>
        </p:txBody>
      </p:sp>
      <p:cxnSp>
        <p:nvCxnSpPr>
          <p:cNvPr id="242" name="Gerader Verbinder 2"/>
          <p:cNvCxnSpPr/>
          <p:nvPr/>
        </p:nvCxnSpPr>
        <p:spPr>
          <a:xfrm>
            <a:off x="858337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Gerader Verbinder 2"/>
          <p:cNvCxnSpPr/>
          <p:nvPr/>
        </p:nvCxnSpPr>
        <p:spPr>
          <a:xfrm>
            <a:off x="2303094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Gerader Verbinder 2"/>
          <p:cNvCxnSpPr/>
          <p:nvPr/>
        </p:nvCxnSpPr>
        <p:spPr>
          <a:xfrm>
            <a:off x="3757623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Gerader Verbinder 2"/>
          <p:cNvCxnSpPr/>
          <p:nvPr/>
        </p:nvCxnSpPr>
        <p:spPr>
          <a:xfrm>
            <a:off x="5192205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Gerader Verbinder 2"/>
          <p:cNvCxnSpPr/>
          <p:nvPr/>
        </p:nvCxnSpPr>
        <p:spPr>
          <a:xfrm>
            <a:off x="6616716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Gerader Verbinder 2"/>
          <p:cNvCxnSpPr/>
          <p:nvPr/>
        </p:nvCxnSpPr>
        <p:spPr>
          <a:xfrm>
            <a:off x="8058737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Gerader Verbinder 2"/>
          <p:cNvCxnSpPr/>
          <p:nvPr/>
        </p:nvCxnSpPr>
        <p:spPr>
          <a:xfrm>
            <a:off x="9491361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Gerader Verbinder 2"/>
          <p:cNvCxnSpPr/>
          <p:nvPr/>
        </p:nvCxnSpPr>
        <p:spPr>
          <a:xfrm>
            <a:off x="10919643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Gerader Verbinder 2"/>
          <p:cNvCxnSpPr/>
          <p:nvPr/>
        </p:nvCxnSpPr>
        <p:spPr>
          <a:xfrm>
            <a:off x="12390193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ângulo 6"/>
          <p:cNvSpPr/>
          <p:nvPr/>
        </p:nvSpPr>
        <p:spPr>
          <a:xfrm>
            <a:off x="19721406" y="3484850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ulho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55" name="Gerader Verbinder 2"/>
          <p:cNvCxnSpPr/>
          <p:nvPr/>
        </p:nvCxnSpPr>
        <p:spPr>
          <a:xfrm>
            <a:off x="19570150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tângulo 255"/>
          <p:cNvSpPr/>
          <p:nvPr/>
        </p:nvSpPr>
        <p:spPr>
          <a:xfrm>
            <a:off x="992739" y="3484850"/>
            <a:ext cx="8563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unho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57" name="Retângulo 256"/>
          <p:cNvSpPr/>
          <p:nvPr/>
        </p:nvSpPr>
        <p:spPr>
          <a:xfrm>
            <a:off x="2468699" y="3484850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ulho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58" name="Retângulo 257"/>
          <p:cNvSpPr/>
          <p:nvPr/>
        </p:nvSpPr>
        <p:spPr>
          <a:xfrm>
            <a:off x="3796028" y="3484850"/>
            <a:ext cx="9733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Agosto</a:t>
            </a:r>
          </a:p>
        </p:txBody>
      </p:sp>
      <p:sp>
        <p:nvSpPr>
          <p:cNvPr id="259" name="Retângulo 258"/>
          <p:cNvSpPr/>
          <p:nvPr/>
        </p:nvSpPr>
        <p:spPr>
          <a:xfrm>
            <a:off x="5125588" y="3484850"/>
            <a:ext cx="12586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etembro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0" name="Retângulo 259"/>
          <p:cNvSpPr/>
          <p:nvPr/>
        </p:nvSpPr>
        <p:spPr>
          <a:xfrm>
            <a:off x="6621220" y="3484850"/>
            <a:ext cx="10967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Outubro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1" name="Retângulo 260"/>
          <p:cNvSpPr/>
          <p:nvPr/>
        </p:nvSpPr>
        <p:spPr>
          <a:xfrm>
            <a:off x="7926185" y="3484850"/>
            <a:ext cx="13708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Novembro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2" name="Retângulo 261"/>
          <p:cNvSpPr/>
          <p:nvPr/>
        </p:nvSpPr>
        <p:spPr>
          <a:xfrm>
            <a:off x="9491703" y="3484850"/>
            <a:ext cx="13372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ezembro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3" name="Retângulo 262"/>
          <p:cNvSpPr/>
          <p:nvPr/>
        </p:nvSpPr>
        <p:spPr>
          <a:xfrm>
            <a:off x="10967427" y="3484850"/>
            <a:ext cx="10102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Janeiro</a:t>
            </a:r>
          </a:p>
        </p:txBody>
      </p:sp>
      <p:sp>
        <p:nvSpPr>
          <p:cNvPr id="264" name="Retângulo 263"/>
          <p:cNvSpPr/>
          <p:nvPr/>
        </p:nvSpPr>
        <p:spPr>
          <a:xfrm>
            <a:off x="12333781" y="3484850"/>
            <a:ext cx="12186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Fevereiro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84" name="Gerader Verbinder 2"/>
          <p:cNvCxnSpPr/>
          <p:nvPr/>
        </p:nvCxnSpPr>
        <p:spPr>
          <a:xfrm>
            <a:off x="13831065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Gerader Verbinder 2"/>
          <p:cNvCxnSpPr/>
          <p:nvPr/>
        </p:nvCxnSpPr>
        <p:spPr>
          <a:xfrm>
            <a:off x="15287757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Gerader Verbinder 2"/>
          <p:cNvCxnSpPr/>
          <p:nvPr/>
        </p:nvCxnSpPr>
        <p:spPr>
          <a:xfrm>
            <a:off x="16707848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Retângulo 292"/>
          <p:cNvSpPr/>
          <p:nvPr/>
        </p:nvSpPr>
        <p:spPr>
          <a:xfrm>
            <a:off x="13905524" y="3484850"/>
            <a:ext cx="9140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Março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94" name="Retângulo 293"/>
          <p:cNvSpPr/>
          <p:nvPr/>
        </p:nvSpPr>
        <p:spPr>
          <a:xfrm>
            <a:off x="15455790" y="3484850"/>
            <a:ext cx="6944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Abril</a:t>
            </a:r>
          </a:p>
        </p:txBody>
      </p:sp>
      <p:sp>
        <p:nvSpPr>
          <p:cNvPr id="295" name="Retângulo 294"/>
          <p:cNvSpPr/>
          <p:nvPr/>
        </p:nvSpPr>
        <p:spPr>
          <a:xfrm>
            <a:off x="16886277" y="3484850"/>
            <a:ext cx="7489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Maio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02" name="Gerader Verbinder 2"/>
          <p:cNvCxnSpPr/>
          <p:nvPr/>
        </p:nvCxnSpPr>
        <p:spPr>
          <a:xfrm>
            <a:off x="18131798" y="3682590"/>
            <a:ext cx="0" cy="882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Retângulo 302"/>
          <p:cNvSpPr/>
          <p:nvPr/>
        </p:nvSpPr>
        <p:spPr>
          <a:xfrm>
            <a:off x="18256527" y="3484850"/>
            <a:ext cx="8563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unho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872880" y="2660842"/>
            <a:ext cx="1486304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5000" b="1" dirty="0">
                <a:solidFill>
                  <a:srgbClr val="2E75B6"/>
                </a:solidFill>
              </a:rPr>
              <a:t>2019</a:t>
            </a:r>
            <a:endParaRPr lang="pt-BR" sz="5000" dirty="0">
              <a:solidFill>
                <a:srgbClr val="2E75B6"/>
              </a:solidFill>
            </a:endParaRPr>
          </a:p>
        </p:txBody>
      </p:sp>
      <p:sp>
        <p:nvSpPr>
          <p:cNvPr id="307" name="Retângulo 306"/>
          <p:cNvSpPr/>
          <p:nvPr/>
        </p:nvSpPr>
        <p:spPr>
          <a:xfrm>
            <a:off x="19414455" y="2631224"/>
            <a:ext cx="1486304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5000" b="1" dirty="0">
                <a:solidFill>
                  <a:srgbClr val="1F4E79"/>
                </a:solidFill>
              </a:rPr>
              <a:t>2020</a:t>
            </a:r>
            <a:endParaRPr lang="pt-BR" sz="5000" dirty="0">
              <a:solidFill>
                <a:srgbClr val="1F4E79"/>
              </a:solidFill>
            </a:endParaRPr>
          </a:p>
        </p:txBody>
      </p:sp>
      <p:pic>
        <p:nvPicPr>
          <p:cNvPr id="50" name="Imagem 49">
            <a:extLst>
              <a:ext uri="{FF2B5EF4-FFF2-40B4-BE49-F238E27FC236}">
                <a16:creationId xmlns:a16="http://schemas.microsoft.com/office/drawing/2014/main" xmlns="" id="{FAB6F95C-6A49-4971-9C1B-29C4A75070E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89079" y="12778750"/>
            <a:ext cx="3926036" cy="558549"/>
          </a:xfrm>
          <a:prstGeom prst="rect">
            <a:avLst/>
          </a:prstGeom>
        </p:spPr>
      </p:pic>
      <p:pic>
        <p:nvPicPr>
          <p:cNvPr id="51" name="Imagem 50">
            <a:extLst>
              <a:ext uri="{FF2B5EF4-FFF2-40B4-BE49-F238E27FC236}">
                <a16:creationId xmlns:a16="http://schemas.microsoft.com/office/drawing/2014/main" xmlns="" id="{47761B97-FCE7-4D3E-BF76-F34496D8F6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219" y="12883498"/>
            <a:ext cx="1334546" cy="405227"/>
          </a:xfrm>
          <a:prstGeom prst="rect">
            <a:avLst/>
          </a:prstGeom>
        </p:spPr>
      </p:pic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xmlns="" id="{BCEAD484-7A70-4063-ABF5-E7FE4EE42392}"/>
              </a:ext>
            </a:extLst>
          </p:cNvPr>
          <p:cNvCxnSpPr>
            <a:cxnSpLocks/>
          </p:cNvCxnSpPr>
          <p:nvPr/>
        </p:nvCxnSpPr>
        <p:spPr>
          <a:xfrm>
            <a:off x="20707068" y="12883498"/>
            <a:ext cx="0" cy="64213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9" name="Rechteck 22"/>
          <p:cNvSpPr/>
          <p:nvPr/>
        </p:nvSpPr>
        <p:spPr>
          <a:xfrm rot="16200000">
            <a:off x="13079827" y="6552757"/>
            <a:ext cx="1510369" cy="5788207"/>
          </a:xfrm>
          <a:prstGeom prst="rect">
            <a:avLst/>
          </a:prstGeom>
          <a:solidFill>
            <a:schemeClr val="bg1">
              <a:lumMod val="90000"/>
            </a:schemeClr>
          </a:solidFill>
          <a:ln>
            <a:noFill/>
          </a:ln>
          <a:effectLst>
            <a:outerShdw blurRad="38100" dist="381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7" name="Rechteck 22"/>
          <p:cNvSpPr/>
          <p:nvPr/>
        </p:nvSpPr>
        <p:spPr>
          <a:xfrm rot="16200000">
            <a:off x="16704203" y="8753185"/>
            <a:ext cx="1510371" cy="1387350"/>
          </a:xfrm>
          <a:prstGeom prst="rect">
            <a:avLst/>
          </a:prstGeom>
          <a:gradFill>
            <a:gsLst>
              <a:gs pos="0">
                <a:srgbClr val="00B0F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381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88" name="Rechteck 22"/>
          <p:cNvSpPr/>
          <p:nvPr/>
        </p:nvSpPr>
        <p:spPr>
          <a:xfrm rot="16200000">
            <a:off x="4958999" y="26004"/>
            <a:ext cx="1872837" cy="100316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38100" dist="381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97" name="Retângulo 296"/>
          <p:cNvSpPr/>
          <p:nvPr/>
        </p:nvSpPr>
        <p:spPr>
          <a:xfrm>
            <a:off x="1623430" y="4230450"/>
            <a:ext cx="701717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 err="1">
                <a:solidFill>
                  <a:srgbClr val="2E75B6"/>
                </a:solidFill>
              </a:rPr>
              <a:t>Fase</a:t>
            </a:r>
            <a:r>
              <a:rPr lang="en-US" sz="4000" b="1" dirty="0">
                <a:solidFill>
                  <a:srgbClr val="2E75B6"/>
                </a:solidFill>
              </a:rPr>
              <a:t> 1: </a:t>
            </a:r>
            <a:r>
              <a:rPr lang="en-US" sz="4000" b="1" dirty="0" err="1">
                <a:solidFill>
                  <a:srgbClr val="2E75B6"/>
                </a:solidFill>
              </a:rPr>
              <a:t>Desenvolvimento</a:t>
            </a:r>
            <a:r>
              <a:rPr lang="en-US" sz="4000" b="1" dirty="0">
                <a:solidFill>
                  <a:srgbClr val="2E75B6"/>
                </a:solidFill>
              </a:rPr>
              <a:t> RNDS</a:t>
            </a:r>
          </a:p>
          <a:p>
            <a:r>
              <a:rPr lang="en-US" sz="2400" b="1" dirty="0" err="1">
                <a:solidFill>
                  <a:schemeClr val="accent1">
                    <a:lumMod val="50000"/>
                  </a:schemeClr>
                </a:solidFill>
              </a:rPr>
              <a:t>Elaboração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: </a:t>
            </a:r>
            <a:r>
              <a:rPr lang="en-US" sz="2400" b="1" dirty="0" err="1">
                <a:solidFill>
                  <a:schemeClr val="accent1">
                    <a:lumMod val="50000"/>
                  </a:schemeClr>
                </a:solidFill>
              </a:rPr>
              <a:t>Junho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 de 2019 a Dez de 2019 </a:t>
            </a:r>
          </a:p>
        </p:txBody>
      </p:sp>
      <p:sp>
        <p:nvSpPr>
          <p:cNvPr id="55" name="Rechteck 22"/>
          <p:cNvSpPr/>
          <p:nvPr/>
        </p:nvSpPr>
        <p:spPr>
          <a:xfrm rot="16200000">
            <a:off x="15510073" y="1598561"/>
            <a:ext cx="871868" cy="10013989"/>
          </a:xfrm>
          <a:prstGeom prst="rect">
            <a:avLst/>
          </a:prstGeom>
          <a:gradFill>
            <a:gsLst>
              <a:gs pos="0">
                <a:srgbClr val="00B0F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381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6" name="Retângulo 55"/>
          <p:cNvSpPr/>
          <p:nvPr/>
        </p:nvSpPr>
        <p:spPr>
          <a:xfrm>
            <a:off x="10982713" y="6311128"/>
            <a:ext cx="652101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b="1" dirty="0" err="1">
                <a:solidFill>
                  <a:schemeClr val="bg1">
                    <a:lumMod val="10000"/>
                  </a:schemeClr>
                </a:solidFill>
              </a:rPr>
              <a:t>Fase</a:t>
            </a:r>
            <a:r>
              <a:rPr lang="en-US" sz="3600" b="1" dirty="0">
                <a:solidFill>
                  <a:schemeClr val="bg1">
                    <a:lumMod val="10000"/>
                  </a:schemeClr>
                </a:solidFill>
              </a:rPr>
              <a:t> 2a: </a:t>
            </a:r>
            <a:r>
              <a:rPr lang="en-US" sz="3600" b="1" dirty="0" err="1">
                <a:solidFill>
                  <a:schemeClr val="bg1">
                    <a:lumMod val="10000"/>
                  </a:schemeClr>
                </a:solidFill>
              </a:rPr>
              <a:t>Realização</a:t>
            </a:r>
            <a:r>
              <a:rPr lang="en-US" sz="3600" b="1" dirty="0">
                <a:solidFill>
                  <a:schemeClr val="bg1">
                    <a:lumMod val="10000"/>
                  </a:schemeClr>
                </a:solidFill>
              </a:rPr>
              <a:t> do </a:t>
            </a:r>
            <a:r>
              <a:rPr lang="en-US" sz="3600" b="1" dirty="0" err="1">
                <a:solidFill>
                  <a:schemeClr val="bg1">
                    <a:lumMod val="10000"/>
                  </a:schemeClr>
                </a:solidFill>
              </a:rPr>
              <a:t>Piloto</a:t>
            </a:r>
            <a:r>
              <a:rPr lang="en-US" sz="3600" b="1" dirty="0">
                <a:solidFill>
                  <a:schemeClr val="bg1">
                    <a:lumMod val="10000"/>
                  </a:schemeClr>
                </a:solidFill>
              </a:rPr>
              <a:t> - DF</a:t>
            </a:r>
          </a:p>
        </p:txBody>
      </p:sp>
      <p:sp>
        <p:nvSpPr>
          <p:cNvPr id="296" name="Retângulo 295"/>
          <p:cNvSpPr/>
          <p:nvPr/>
        </p:nvSpPr>
        <p:spPr>
          <a:xfrm>
            <a:off x="11222518" y="8977845"/>
            <a:ext cx="5286192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 err="1">
                <a:solidFill>
                  <a:srgbClr val="2E75B6"/>
                </a:solidFill>
              </a:rPr>
              <a:t>Fase</a:t>
            </a:r>
            <a:r>
              <a:rPr lang="en-US" sz="3200" b="1" dirty="0">
                <a:solidFill>
                  <a:srgbClr val="2E75B6"/>
                </a:solidFill>
              </a:rPr>
              <a:t> 3: </a:t>
            </a:r>
            <a:r>
              <a:rPr lang="en-US" sz="3200" b="1" dirty="0" err="1">
                <a:solidFill>
                  <a:srgbClr val="2E75B6"/>
                </a:solidFill>
              </a:rPr>
              <a:t>Proposta</a:t>
            </a:r>
            <a:r>
              <a:rPr lang="en-US" sz="3200" b="1" dirty="0">
                <a:solidFill>
                  <a:srgbClr val="2E75B6"/>
                </a:solidFill>
              </a:rPr>
              <a:t> de </a:t>
            </a:r>
            <a:r>
              <a:rPr lang="en-US" sz="3200" b="1" dirty="0" err="1">
                <a:solidFill>
                  <a:srgbClr val="2E75B6"/>
                </a:solidFill>
              </a:rPr>
              <a:t>Expansão</a:t>
            </a:r>
            <a:r>
              <a:rPr lang="en-US" sz="3200" b="1" dirty="0">
                <a:solidFill>
                  <a:srgbClr val="2E75B6"/>
                </a:solidFill>
              </a:rPr>
              <a:t> </a:t>
            </a:r>
          </a:p>
          <a:p>
            <a:pPr algn="ctr"/>
            <a:r>
              <a:rPr lang="en-US" sz="2400" b="1" dirty="0" err="1">
                <a:solidFill>
                  <a:schemeClr val="accent1">
                    <a:lumMod val="50000"/>
                  </a:schemeClr>
                </a:solidFill>
              </a:rPr>
              <a:t>Elaboração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: Janeiro a </a:t>
            </a:r>
            <a:r>
              <a:rPr lang="en-US" sz="2400" b="1" dirty="0" err="1">
                <a:solidFill>
                  <a:schemeClr val="accent1">
                    <a:lumMod val="50000"/>
                  </a:schemeClr>
                </a:solidFill>
              </a:rPr>
              <a:t>Junho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 de 2020 </a:t>
            </a:r>
          </a:p>
        </p:txBody>
      </p:sp>
      <p:sp>
        <p:nvSpPr>
          <p:cNvPr id="58" name="Retângulo 57"/>
          <p:cNvSpPr/>
          <p:nvPr/>
        </p:nvSpPr>
        <p:spPr>
          <a:xfrm>
            <a:off x="16839856" y="9005418"/>
            <a:ext cx="3243580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schemeClr val="bg1">
                    <a:lumMod val="10000"/>
                  </a:schemeClr>
                </a:solidFill>
              </a:rPr>
              <a:t>Plano de </a:t>
            </a:r>
            <a:r>
              <a:rPr lang="en-US" sz="3200" b="1" dirty="0" err="1">
                <a:solidFill>
                  <a:schemeClr val="bg1">
                    <a:lumMod val="10000"/>
                  </a:schemeClr>
                </a:solidFill>
              </a:rPr>
              <a:t>Trabalho</a:t>
            </a:r>
            <a:endParaRPr lang="en-US" sz="3200" b="1" dirty="0">
              <a:solidFill>
                <a:schemeClr val="bg1">
                  <a:lumMod val="10000"/>
                </a:schemeClr>
              </a:solidFill>
            </a:endParaRPr>
          </a:p>
          <a:p>
            <a:r>
              <a:rPr lang="en-US" sz="3200" b="1" dirty="0">
                <a:solidFill>
                  <a:schemeClr val="bg1">
                    <a:lumMod val="10000"/>
                  </a:schemeClr>
                </a:solidFill>
              </a:rPr>
              <a:t>de </a:t>
            </a:r>
            <a:r>
              <a:rPr lang="en-US" sz="3200" b="1" dirty="0" err="1">
                <a:solidFill>
                  <a:schemeClr val="bg1">
                    <a:lumMod val="10000"/>
                  </a:schemeClr>
                </a:solidFill>
              </a:rPr>
              <a:t>Expansão</a:t>
            </a:r>
            <a:endParaRPr lang="en-US" sz="3200" b="1" dirty="0">
              <a:solidFill>
                <a:schemeClr val="bg1">
                  <a:lumMod val="10000"/>
                </a:schemeClr>
              </a:solidFill>
            </a:endParaRPr>
          </a:p>
        </p:txBody>
      </p:sp>
      <p:sp>
        <p:nvSpPr>
          <p:cNvPr id="59" name="Rechteck 22"/>
          <p:cNvSpPr/>
          <p:nvPr/>
        </p:nvSpPr>
        <p:spPr>
          <a:xfrm rot="16200000">
            <a:off x="19269454" y="9273906"/>
            <a:ext cx="1510369" cy="3743147"/>
          </a:xfrm>
          <a:prstGeom prst="rect">
            <a:avLst/>
          </a:prstGeom>
          <a:solidFill>
            <a:schemeClr val="bg1">
              <a:lumMod val="90000"/>
            </a:schemeClr>
          </a:solidFill>
          <a:ln>
            <a:noFill/>
          </a:ln>
          <a:effectLst>
            <a:outerShdw blurRad="38100" dist="381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1" name="Retângulo 60"/>
          <p:cNvSpPr/>
          <p:nvPr/>
        </p:nvSpPr>
        <p:spPr>
          <a:xfrm>
            <a:off x="15696678" y="10752868"/>
            <a:ext cx="5786520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 err="1">
                <a:solidFill>
                  <a:srgbClr val="2E75B6"/>
                </a:solidFill>
              </a:rPr>
              <a:t>Fase</a:t>
            </a:r>
            <a:r>
              <a:rPr lang="en-US" sz="3200" b="1" dirty="0">
                <a:solidFill>
                  <a:srgbClr val="2E75B6"/>
                </a:solidFill>
              </a:rPr>
              <a:t> 4: </a:t>
            </a:r>
            <a:r>
              <a:rPr lang="en-US" sz="3200" b="1" dirty="0" err="1">
                <a:solidFill>
                  <a:srgbClr val="2E75B6"/>
                </a:solidFill>
              </a:rPr>
              <a:t>Implantação</a:t>
            </a:r>
            <a:r>
              <a:rPr lang="en-US" sz="3200" b="1" dirty="0">
                <a:solidFill>
                  <a:srgbClr val="2E75B6"/>
                </a:solidFill>
              </a:rPr>
              <a:t> de </a:t>
            </a:r>
            <a:r>
              <a:rPr lang="en-US" sz="3200" b="1" dirty="0" err="1">
                <a:solidFill>
                  <a:srgbClr val="2E75B6"/>
                </a:solidFill>
              </a:rPr>
              <a:t>Expansão</a:t>
            </a:r>
            <a:endParaRPr lang="en-US" sz="3200" b="1" dirty="0">
              <a:solidFill>
                <a:srgbClr val="2E75B6"/>
              </a:solidFill>
            </a:endParaRPr>
          </a:p>
          <a:p>
            <a:pPr algn="ctr"/>
            <a:r>
              <a:rPr lang="en-US" sz="2800" b="1" dirty="0" err="1">
                <a:solidFill>
                  <a:schemeClr val="accent1">
                    <a:lumMod val="50000"/>
                  </a:schemeClr>
                </a:solidFill>
              </a:rPr>
              <a:t>Junho</a:t>
            </a: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 a </a:t>
            </a:r>
            <a:r>
              <a:rPr lang="en-US" sz="2800" b="1" dirty="0" err="1">
                <a:solidFill>
                  <a:schemeClr val="accent1">
                    <a:lumMod val="50000"/>
                  </a:schemeClr>
                </a:solidFill>
              </a:rPr>
              <a:t>Dez</a:t>
            </a: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 de 2022…</a:t>
            </a:r>
          </a:p>
        </p:txBody>
      </p:sp>
      <p:cxnSp>
        <p:nvCxnSpPr>
          <p:cNvPr id="63" name="Gerader Verbinder 2"/>
          <p:cNvCxnSpPr/>
          <p:nvPr/>
        </p:nvCxnSpPr>
        <p:spPr>
          <a:xfrm>
            <a:off x="22427836" y="2539820"/>
            <a:ext cx="0" cy="9682442"/>
          </a:xfrm>
          <a:prstGeom prst="line">
            <a:avLst/>
          </a:prstGeom>
          <a:ln>
            <a:solidFill>
              <a:srgbClr val="88BC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tângulo 63"/>
          <p:cNvSpPr/>
          <p:nvPr/>
        </p:nvSpPr>
        <p:spPr>
          <a:xfrm>
            <a:off x="21623769" y="1659163"/>
            <a:ext cx="1486304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5000" b="1" dirty="0">
                <a:solidFill>
                  <a:schemeClr val="accent6">
                    <a:lumMod val="75000"/>
                  </a:schemeClr>
                </a:solidFill>
              </a:rPr>
              <a:t>2022</a:t>
            </a:r>
            <a:endParaRPr lang="pt-BR" sz="5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" name="Seta para a Direita 4"/>
          <p:cNvSpPr/>
          <p:nvPr/>
        </p:nvSpPr>
        <p:spPr>
          <a:xfrm>
            <a:off x="21896552" y="10371411"/>
            <a:ext cx="1822777" cy="1529254"/>
          </a:xfrm>
          <a:prstGeom prst="rightArrow">
            <a:avLst>
              <a:gd name="adj1" fmla="val 99873"/>
              <a:gd name="adj2" fmla="val 50000"/>
            </a:avLst>
          </a:prstGeom>
          <a:solidFill>
            <a:srgbClr val="88BC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Triângulo isósceles 5"/>
          <p:cNvSpPr/>
          <p:nvPr/>
        </p:nvSpPr>
        <p:spPr>
          <a:xfrm rot="5400000">
            <a:off x="21764037" y="10598335"/>
            <a:ext cx="1339073" cy="1075406"/>
          </a:xfrm>
          <a:prstGeom prst="triangle">
            <a:avLst>
              <a:gd name="adj" fmla="val 47597"/>
            </a:avLst>
          </a:prstGeom>
          <a:solidFill>
            <a:srgbClr val="FFC9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5" name="Retângulo 64"/>
          <p:cNvSpPr/>
          <p:nvPr/>
        </p:nvSpPr>
        <p:spPr>
          <a:xfrm>
            <a:off x="21886674" y="11913815"/>
            <a:ext cx="15869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err="1">
                <a:solidFill>
                  <a:srgbClr val="2772A9"/>
                </a:solidFill>
              </a:rPr>
              <a:t>Continuidade</a:t>
            </a:r>
            <a:r>
              <a:rPr lang="en-US" sz="1600" b="1" dirty="0">
                <a:solidFill>
                  <a:srgbClr val="2772A9"/>
                </a:solidFill>
              </a:rPr>
              <a:t> </a:t>
            </a:r>
            <a:r>
              <a:rPr lang="en-US" sz="1600" b="1" dirty="0" err="1">
                <a:solidFill>
                  <a:srgbClr val="2772A9"/>
                </a:solidFill>
              </a:rPr>
              <a:t>na</a:t>
            </a:r>
            <a:endParaRPr lang="en-US" sz="1600" b="1" dirty="0">
              <a:solidFill>
                <a:srgbClr val="2772A9"/>
              </a:solidFill>
            </a:endParaRPr>
          </a:p>
          <a:p>
            <a:r>
              <a:rPr lang="en-US" sz="1600" b="1" dirty="0" err="1">
                <a:solidFill>
                  <a:srgbClr val="2772A9"/>
                </a:solidFill>
              </a:rPr>
              <a:t>Implantação</a:t>
            </a:r>
            <a:endParaRPr lang="en-US" sz="1600" b="1" dirty="0">
              <a:solidFill>
                <a:srgbClr val="2772A9"/>
              </a:solidFill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8078777" y="4868016"/>
            <a:ext cx="2844000" cy="1116000"/>
          </a:xfrm>
          <a:prstGeom prst="rect">
            <a:avLst/>
          </a:prstGeom>
          <a:solidFill>
            <a:srgbClr val="6CC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/>
              <a:t>Prova de Conceito (DF</a:t>
            </a:r>
            <a:r>
              <a:rPr lang="pt-BR" sz="2800" dirty="0"/>
              <a:t>)</a:t>
            </a:r>
          </a:p>
        </p:txBody>
      </p:sp>
      <p:sp>
        <p:nvSpPr>
          <p:cNvPr id="60" name="Rechteck 22">
            <a:extLst>
              <a:ext uri="{FF2B5EF4-FFF2-40B4-BE49-F238E27FC236}">
                <a16:creationId xmlns:a16="http://schemas.microsoft.com/office/drawing/2014/main" xmlns="" id="{F8D43716-18B3-4086-90CF-34BFF713C81B}"/>
              </a:ext>
            </a:extLst>
          </p:cNvPr>
          <p:cNvSpPr/>
          <p:nvPr/>
        </p:nvSpPr>
        <p:spPr>
          <a:xfrm rot="16200000">
            <a:off x="17395945" y="3726741"/>
            <a:ext cx="1015665" cy="8043539"/>
          </a:xfrm>
          <a:prstGeom prst="rect">
            <a:avLst/>
          </a:prstGeom>
          <a:gradFill>
            <a:gsLst>
              <a:gs pos="0">
                <a:srgbClr val="00B0F0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outerShdw blurRad="38100" dist="381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2" name="Retângulo 55">
            <a:extLst>
              <a:ext uri="{FF2B5EF4-FFF2-40B4-BE49-F238E27FC236}">
                <a16:creationId xmlns:a16="http://schemas.microsoft.com/office/drawing/2014/main" xmlns="" id="{9FDB8B44-EF70-4925-A8E3-E95D6D7BB17F}"/>
              </a:ext>
            </a:extLst>
          </p:cNvPr>
          <p:cNvSpPr/>
          <p:nvPr/>
        </p:nvSpPr>
        <p:spPr>
          <a:xfrm>
            <a:off x="13918150" y="7400924"/>
            <a:ext cx="75650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 err="1">
                <a:solidFill>
                  <a:schemeClr val="bg1">
                    <a:lumMod val="10000"/>
                  </a:schemeClr>
                </a:solidFill>
              </a:rPr>
              <a:t>Fase</a:t>
            </a:r>
            <a:r>
              <a:rPr lang="en-US" sz="3600" b="1" dirty="0">
                <a:solidFill>
                  <a:schemeClr val="bg1">
                    <a:lumMod val="10000"/>
                  </a:schemeClr>
                </a:solidFill>
              </a:rPr>
              <a:t> 2b: </a:t>
            </a:r>
            <a:r>
              <a:rPr lang="en-US" sz="3600" b="1" dirty="0" err="1">
                <a:solidFill>
                  <a:schemeClr val="bg1">
                    <a:lumMod val="10000"/>
                  </a:schemeClr>
                </a:solidFill>
              </a:rPr>
              <a:t>Realização</a:t>
            </a:r>
            <a:r>
              <a:rPr lang="en-US" sz="3600" b="1" dirty="0">
                <a:solidFill>
                  <a:schemeClr val="bg1">
                    <a:lumMod val="10000"/>
                  </a:schemeClr>
                </a:solidFill>
              </a:rPr>
              <a:t> do </a:t>
            </a:r>
            <a:r>
              <a:rPr lang="en-US" sz="3600" b="1" dirty="0" err="1">
                <a:solidFill>
                  <a:schemeClr val="bg1">
                    <a:lumMod val="10000"/>
                  </a:schemeClr>
                </a:solidFill>
              </a:rPr>
              <a:t>Piloto</a:t>
            </a:r>
            <a:r>
              <a:rPr lang="en-US" sz="3600" b="1" dirty="0">
                <a:solidFill>
                  <a:schemeClr val="bg1">
                    <a:lumMod val="10000"/>
                  </a:schemeClr>
                </a:solidFill>
              </a:rPr>
              <a:t> - Alagoas</a:t>
            </a:r>
          </a:p>
        </p:txBody>
      </p:sp>
    </p:spTree>
    <p:extLst>
      <p:ext uri="{BB962C8B-B14F-4D97-AF65-F5344CB8AC3E}">
        <p14:creationId xmlns:p14="http://schemas.microsoft.com/office/powerpoint/2010/main" val="3773793275"/>
      </p:ext>
    </p:extLst>
  </p:cSld>
  <p:clrMapOvr>
    <a:masterClrMapping/>
  </p:clrMapOvr>
  <p:transition spd="slow"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CAC9725-E498-4E99-B0BA-0BBEE0151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554" y="1653096"/>
            <a:ext cx="22990543" cy="11675271"/>
          </a:xfrm>
          <a:prstGeom prst="rect">
            <a:avLst/>
          </a:prstGeom>
        </p:spPr>
      </p:pic>
      <p:sp>
        <p:nvSpPr>
          <p:cNvPr id="5" name="Google Shape;167;p29">
            <a:extLst>
              <a:ext uri="{FF2B5EF4-FFF2-40B4-BE49-F238E27FC236}">
                <a16:creationId xmlns:a16="http://schemas.microsoft.com/office/drawing/2014/main" xmlns="" id="{451E87EC-B271-4875-B810-425EDE4A73B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0983" y="172476"/>
            <a:ext cx="23107581" cy="1526802"/>
          </a:xfrm>
          <a:prstGeom prst="rect">
            <a:avLst/>
          </a:prstGeom>
        </p:spPr>
        <p:txBody>
          <a:bodyPr spcFirstLastPara="1" vert="horz" wrap="square" lIns="243737" tIns="243737" rIns="243737" bIns="243737" rtlCol="0" anchor="t" anchorCtr="0">
            <a:noAutofit/>
          </a:bodyPr>
          <a:lstStyle/>
          <a:p>
            <a:r>
              <a:rPr lang="pt-BR" sz="8000" dirty="0">
                <a:solidFill>
                  <a:schemeClr val="accent5">
                    <a:lumMod val="50000"/>
                  </a:schemeClr>
                </a:solidFill>
              </a:rPr>
              <a:t>Detalhado</a:t>
            </a:r>
          </a:p>
        </p:txBody>
      </p:sp>
      <p:cxnSp>
        <p:nvCxnSpPr>
          <p:cNvPr id="7" name="Google Shape;197;p29">
            <a:extLst>
              <a:ext uri="{FF2B5EF4-FFF2-40B4-BE49-F238E27FC236}">
                <a16:creationId xmlns:a16="http://schemas.microsoft.com/office/drawing/2014/main" xmlns="" id="{39C71420-006F-4FB9-A7C9-0676B7EB0AEF}"/>
              </a:ext>
            </a:extLst>
          </p:cNvPr>
          <p:cNvCxnSpPr>
            <a:cxnSpLocks/>
          </p:cNvCxnSpPr>
          <p:nvPr/>
        </p:nvCxnSpPr>
        <p:spPr>
          <a:xfrm>
            <a:off x="667283" y="1488377"/>
            <a:ext cx="22396244" cy="0"/>
          </a:xfrm>
          <a:prstGeom prst="straightConnector1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2BBE1F9A-C7D6-44F8-92A4-DD003D55359A}"/>
              </a:ext>
            </a:extLst>
          </p:cNvPr>
          <p:cNvSpPr txBox="1"/>
          <p:nvPr/>
        </p:nvSpPr>
        <p:spPr>
          <a:xfrm>
            <a:off x="9587734" y="387631"/>
            <a:ext cx="3434419" cy="646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343">
              <a:defRPr/>
            </a:pPr>
            <a:r>
              <a:rPr lang="es-ES" sz="3599" b="1" dirty="0">
                <a:solidFill>
                  <a:srgbClr val="FF0000"/>
                </a:solidFill>
                <a:latin typeface="Calibri" panose="020F0502020204030204"/>
              </a:rPr>
              <a:t>Estamos </a:t>
            </a:r>
            <a:r>
              <a:rPr lang="es-ES" sz="3599" b="1" dirty="0" err="1">
                <a:solidFill>
                  <a:srgbClr val="FF0000"/>
                </a:solidFill>
                <a:latin typeface="Calibri" panose="020F0502020204030204"/>
              </a:rPr>
              <a:t>aqui</a:t>
            </a:r>
            <a:endParaRPr lang="es-ES" sz="3599" b="1" dirty="0">
              <a:solidFill>
                <a:srgbClr val="FF0000"/>
              </a:solidFill>
              <a:latin typeface="Calibri" panose="020F0502020204030204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xmlns="" id="{9110CC43-1E99-49E8-953E-DF615F4B8A77}"/>
              </a:ext>
            </a:extLst>
          </p:cNvPr>
          <p:cNvSpPr/>
          <p:nvPr/>
        </p:nvSpPr>
        <p:spPr>
          <a:xfrm rot="10800000">
            <a:off x="10008110" y="969899"/>
            <a:ext cx="1403133" cy="910517"/>
          </a:xfrm>
          <a:prstGeom prst="triangl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3">
              <a:defRPr/>
            </a:pPr>
            <a:endParaRPr lang="pt-BR" sz="3599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3984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7" name="Google Shape;197;p29"/>
          <p:cNvCxnSpPr>
            <a:cxnSpLocks/>
          </p:cNvCxnSpPr>
          <p:nvPr/>
        </p:nvCxnSpPr>
        <p:spPr>
          <a:xfrm>
            <a:off x="4675517" y="1376889"/>
            <a:ext cx="18388010" cy="61989"/>
          </a:xfrm>
          <a:prstGeom prst="straightConnector1">
            <a:avLst/>
          </a:prstGeom>
          <a:noFill/>
          <a:ln w="9525" cap="flat" cmpd="sng">
            <a:solidFill>
              <a:srgbClr val="2772A9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7" name="Google Shape;167;p29"/>
          <p:cNvSpPr txBox="1">
            <a:spLocks noGrp="1"/>
          </p:cNvSpPr>
          <p:nvPr>
            <p:ph type="title"/>
          </p:nvPr>
        </p:nvSpPr>
        <p:spPr>
          <a:xfrm>
            <a:off x="746253" y="257761"/>
            <a:ext cx="14684175" cy="1526802"/>
          </a:xfrm>
          <a:prstGeom prst="rect">
            <a:avLst/>
          </a:prstGeom>
        </p:spPr>
        <p:txBody>
          <a:bodyPr spcFirstLastPara="1" vert="horz" wrap="square" lIns="243737" tIns="243737" rIns="243737" bIns="243737" rtlCol="0" anchor="t" anchorCtr="0">
            <a:noAutofit/>
          </a:bodyPr>
          <a:lstStyle/>
          <a:p>
            <a:r>
              <a:rPr lang="pt-BR" sz="8800" dirty="0" smtClean="0">
                <a:solidFill>
                  <a:srgbClr val="2772A9"/>
                </a:solidFill>
                <a:latin typeface="+mn-lt"/>
              </a:rPr>
              <a:t>Fóruns</a:t>
            </a:r>
            <a:endParaRPr sz="8800" dirty="0">
              <a:solidFill>
                <a:srgbClr val="2772A9"/>
              </a:solidFill>
              <a:latin typeface="+mn-lt"/>
            </a:endParaRPr>
          </a:p>
        </p:txBody>
      </p:sp>
      <p:sp>
        <p:nvSpPr>
          <p:cNvPr id="36" name="AutoShape 38">
            <a:extLst>
              <a:ext uri="{FF2B5EF4-FFF2-40B4-BE49-F238E27FC236}">
                <a16:creationId xmlns:a16="http://schemas.microsoft.com/office/drawing/2014/main" xmlns="" id="{ECDF3123-8FE7-46D9-BA63-3DE4BF8A80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6744" y="2635881"/>
            <a:ext cx="10041532" cy="10349982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107952" tIns="91400" rIns="107952" bIns="91400" anchor="ctr"/>
          <a:lstStyle>
            <a:lvl1pPr marL="187325" indent="-187325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pt-BR" altLang="pt-BR" sz="2800" b="0">
              <a:solidFill>
                <a:srgbClr val="00FFFF"/>
              </a:solidFill>
              <a:latin typeface="+mn-lt"/>
            </a:endParaRPr>
          </a:p>
        </p:txBody>
      </p:sp>
      <p:sp>
        <p:nvSpPr>
          <p:cNvPr id="37" name="AutoShape 37">
            <a:extLst>
              <a:ext uri="{FF2B5EF4-FFF2-40B4-BE49-F238E27FC236}">
                <a16:creationId xmlns:a16="http://schemas.microsoft.com/office/drawing/2014/main" xmlns="" id="{E6E0BE55-58D0-4E00-A546-77C932A634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02989" y="2675933"/>
            <a:ext cx="6725064" cy="6917346"/>
          </a:xfrm>
          <a:prstGeom prst="triangle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107952" tIns="91400" rIns="107952" bIns="91400" anchor="ctr"/>
          <a:lstStyle>
            <a:lvl1pPr marL="187325" indent="-187325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pt-BR" altLang="pt-BR" sz="2800" b="0">
              <a:solidFill>
                <a:srgbClr val="00FFFF"/>
              </a:solidFill>
              <a:latin typeface="+mn-lt"/>
            </a:endParaRPr>
          </a:p>
        </p:txBody>
      </p:sp>
      <p:sp>
        <p:nvSpPr>
          <p:cNvPr id="38" name="AutoShape 31">
            <a:extLst>
              <a:ext uri="{FF2B5EF4-FFF2-40B4-BE49-F238E27FC236}">
                <a16:creationId xmlns:a16="http://schemas.microsoft.com/office/drawing/2014/main" xmlns="" id="{486122B5-E5C0-4B3A-AF30-98243D1EB2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983" y="2675934"/>
            <a:ext cx="6024119" cy="10305923"/>
          </a:xfrm>
          <a:prstGeom prst="parallelogram">
            <a:avLst>
              <a:gd name="adj" fmla="val 84060"/>
            </a:avLst>
          </a:prstGeom>
          <a:gradFill flip="none" rotWithShape="1">
            <a:gsLst>
              <a:gs pos="0">
                <a:schemeClr val="bg1">
                  <a:lumMod val="95000"/>
                  <a:shade val="30000"/>
                  <a:satMod val="115000"/>
                </a:schemeClr>
              </a:gs>
              <a:gs pos="50000">
                <a:schemeClr val="bg1">
                  <a:lumMod val="95000"/>
                  <a:shade val="67500"/>
                  <a:satMod val="115000"/>
                </a:schemeClr>
              </a:gs>
              <a:gs pos="100000">
                <a:schemeClr val="bg1">
                  <a:lumMod val="95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pt-BR" altLang="pt-BR" sz="5400" b="0">
              <a:latin typeface="+mn-lt"/>
            </a:endParaRPr>
          </a:p>
        </p:txBody>
      </p:sp>
      <p:sp>
        <p:nvSpPr>
          <p:cNvPr id="39" name="AutoShape 32">
            <a:extLst>
              <a:ext uri="{FF2B5EF4-FFF2-40B4-BE49-F238E27FC236}">
                <a16:creationId xmlns:a16="http://schemas.microsoft.com/office/drawing/2014/main" xmlns="" id="{7E66D8D1-879A-491D-8AA5-E2FCD0E311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012" y="6056499"/>
            <a:ext cx="4321822" cy="6917346"/>
          </a:xfrm>
          <a:prstGeom prst="parallelogram">
            <a:avLst>
              <a:gd name="adj" fmla="val 77907"/>
            </a:avLst>
          </a:prstGeo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pt-BR" altLang="pt-BR" sz="5400" b="0">
              <a:solidFill>
                <a:srgbClr val="0000FF"/>
              </a:solidFill>
              <a:latin typeface="+mn-lt"/>
            </a:endParaRPr>
          </a:p>
        </p:txBody>
      </p:sp>
      <p:sp>
        <p:nvSpPr>
          <p:cNvPr id="40" name="AutoShape 33">
            <a:extLst>
              <a:ext uri="{FF2B5EF4-FFF2-40B4-BE49-F238E27FC236}">
                <a16:creationId xmlns:a16="http://schemas.microsoft.com/office/drawing/2014/main" xmlns="" id="{9AF37CF7-FE05-4DCE-9A74-D12098F9D3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983" y="9593281"/>
            <a:ext cx="2611520" cy="3392582"/>
          </a:xfrm>
          <a:prstGeom prst="parallelogram">
            <a:avLst>
              <a:gd name="adj" fmla="val 63259"/>
            </a:avLst>
          </a:prstGeom>
          <a:gradFill flip="none" rotWithShape="1">
            <a:gsLst>
              <a:gs pos="0">
                <a:schemeClr val="tx1">
                  <a:lumMod val="75000"/>
                  <a:lumOff val="25000"/>
                  <a:shade val="30000"/>
                  <a:satMod val="115000"/>
                </a:schemeClr>
              </a:gs>
              <a:gs pos="50000">
                <a:schemeClr val="tx1">
                  <a:lumMod val="75000"/>
                  <a:lumOff val="25000"/>
                  <a:shade val="67500"/>
                  <a:satMod val="115000"/>
                </a:schemeClr>
              </a:gs>
              <a:gs pos="100000">
                <a:schemeClr val="tx1">
                  <a:lumMod val="75000"/>
                  <a:lumOff val="25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pt-BR" altLang="pt-BR" sz="5400" b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1" name="AutoShape 34">
            <a:extLst>
              <a:ext uri="{FF2B5EF4-FFF2-40B4-BE49-F238E27FC236}">
                <a16:creationId xmlns:a16="http://schemas.microsoft.com/office/drawing/2014/main" xmlns="" id="{F3C47867-BAFE-4EAA-8422-05F17EF1A655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479944" y="2699965"/>
            <a:ext cx="10237797" cy="10305923"/>
          </a:xfrm>
          <a:prstGeom prst="parallelogram">
            <a:avLst>
              <a:gd name="adj" fmla="val 48194"/>
            </a:avLst>
          </a:prstGeom>
          <a:gradFill flip="none" rotWithShape="1">
            <a:gsLst>
              <a:gs pos="0">
                <a:srgbClr val="B4C7E7">
                  <a:shade val="30000"/>
                  <a:satMod val="115000"/>
                </a:srgbClr>
              </a:gs>
              <a:gs pos="50000">
                <a:srgbClr val="B4C7E7">
                  <a:shade val="67500"/>
                  <a:satMod val="115000"/>
                </a:srgbClr>
              </a:gs>
              <a:gs pos="100000">
                <a:srgbClr val="B4C7E7">
                  <a:shade val="100000"/>
                  <a:satMod val="115000"/>
                </a:srgbClr>
              </a:gs>
            </a:gsLst>
            <a:lin ang="2700000" scaled="1"/>
            <a:tileRect/>
          </a:gradFill>
          <a:ln w="12700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endParaRPr lang="pt-BR" altLang="pt-BR" sz="2800">
              <a:latin typeface="+mn-lt"/>
            </a:endParaRPr>
          </a:p>
        </p:txBody>
      </p:sp>
      <p:sp>
        <p:nvSpPr>
          <p:cNvPr id="42" name="AutoShape 35">
            <a:extLst>
              <a:ext uri="{FF2B5EF4-FFF2-40B4-BE49-F238E27FC236}">
                <a16:creationId xmlns:a16="http://schemas.microsoft.com/office/drawing/2014/main" xmlns="" id="{72F72EC5-15E2-4461-8092-68545FFD31B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459919" y="2675933"/>
            <a:ext cx="8631632" cy="6917346"/>
          </a:xfrm>
          <a:prstGeom prst="parallelogram">
            <a:avLst>
              <a:gd name="adj" fmla="val 47689"/>
            </a:avLst>
          </a:prstGeom>
          <a:gradFill flip="none" rotWithShape="1">
            <a:gsLst>
              <a:gs pos="0">
                <a:srgbClr val="8FAADC">
                  <a:shade val="30000"/>
                  <a:satMod val="115000"/>
                </a:srgbClr>
              </a:gs>
              <a:gs pos="50000">
                <a:srgbClr val="8FAADC">
                  <a:shade val="67500"/>
                  <a:satMod val="115000"/>
                </a:srgbClr>
              </a:gs>
              <a:gs pos="100000">
                <a:srgbClr val="8FAADC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endParaRPr lang="pt-BR" altLang="pt-BR" sz="2800">
              <a:latin typeface="+mn-lt"/>
            </a:endParaRPr>
          </a:p>
        </p:txBody>
      </p:sp>
      <p:sp>
        <p:nvSpPr>
          <p:cNvPr id="43" name="AutoShape 36">
            <a:extLst>
              <a:ext uri="{FF2B5EF4-FFF2-40B4-BE49-F238E27FC236}">
                <a16:creationId xmlns:a16="http://schemas.microsoft.com/office/drawing/2014/main" xmlns="" id="{4436CD2D-0E3B-48D0-8849-21522EE7697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439891" y="2679941"/>
            <a:ext cx="7025468" cy="3516750"/>
          </a:xfrm>
          <a:prstGeom prst="parallelogram">
            <a:avLst>
              <a:gd name="adj" fmla="val 48019"/>
            </a:avLst>
          </a:prstGeom>
          <a:gradFill flip="none" rotWithShape="1">
            <a:gsLst>
              <a:gs pos="0">
                <a:srgbClr val="2F5597">
                  <a:shade val="30000"/>
                  <a:satMod val="115000"/>
                </a:srgbClr>
              </a:gs>
              <a:gs pos="50000">
                <a:srgbClr val="2F5597">
                  <a:shade val="67500"/>
                  <a:satMod val="115000"/>
                </a:srgbClr>
              </a:gs>
              <a:gs pos="100000">
                <a:srgbClr val="2F5597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 w="12700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endParaRPr lang="pt-BR" altLang="pt-BR" sz="2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4" name="AutoShape 39">
            <a:extLst>
              <a:ext uri="{FF2B5EF4-FFF2-40B4-BE49-F238E27FC236}">
                <a16:creationId xmlns:a16="http://schemas.microsoft.com/office/drawing/2014/main" xmlns="" id="{29605F48-B617-439F-AAA6-67DC817520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9209" y="2675934"/>
            <a:ext cx="3416602" cy="3472691"/>
          </a:xfrm>
          <a:prstGeom prst="triangle">
            <a:avLst>
              <a:gd name="adj" fmla="val 49574"/>
            </a:avLst>
          </a:prstGeom>
          <a:solidFill>
            <a:srgbClr val="002060"/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107952" tIns="91400" rIns="107952" bIns="91400" anchor="ctr"/>
          <a:lstStyle>
            <a:lvl1pPr marL="187325" indent="-187325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endParaRPr lang="pt-BR" altLang="pt-BR" sz="2800" b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5" name="Text Box 42">
            <a:extLst>
              <a:ext uri="{FF2B5EF4-FFF2-40B4-BE49-F238E27FC236}">
                <a16:creationId xmlns:a16="http://schemas.microsoft.com/office/drawing/2014/main" xmlns="" id="{0A5F69F7-6FED-4CCA-9A77-DA6B806CB6CF}"/>
              </a:ext>
            </a:extLst>
          </p:cNvPr>
          <p:cNvSpPr txBox="1">
            <a:spLocks noChangeArrowheads="1"/>
          </p:cNvSpPr>
          <p:nvPr/>
        </p:nvSpPr>
        <p:spPr bwMode="auto">
          <a:xfrm rot="17923053">
            <a:off x="4958195" y="4094534"/>
            <a:ext cx="1314467" cy="615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7952" tIns="91400" rIns="107952" bIns="91400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altLang="pt-BR" sz="2800" dirty="0">
                <a:latin typeface="+mn-lt"/>
              </a:rPr>
              <a:t>Mensal</a:t>
            </a:r>
          </a:p>
        </p:txBody>
      </p:sp>
      <p:sp>
        <p:nvSpPr>
          <p:cNvPr id="46" name="Text Box 43">
            <a:extLst>
              <a:ext uri="{FF2B5EF4-FFF2-40B4-BE49-F238E27FC236}">
                <a16:creationId xmlns:a16="http://schemas.microsoft.com/office/drawing/2014/main" xmlns="" id="{D773DB9C-96AA-491B-AB23-C346686771D4}"/>
              </a:ext>
            </a:extLst>
          </p:cNvPr>
          <p:cNvSpPr txBox="1">
            <a:spLocks noChangeArrowheads="1"/>
          </p:cNvSpPr>
          <p:nvPr/>
        </p:nvSpPr>
        <p:spPr bwMode="auto">
          <a:xfrm rot="17908293">
            <a:off x="3020409" y="7483111"/>
            <a:ext cx="1713358" cy="615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7952" tIns="91400" rIns="107952" bIns="91400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altLang="pt-BR" sz="2800" dirty="0">
                <a:solidFill>
                  <a:schemeClr val="bg1"/>
                </a:solidFill>
                <a:latin typeface="+mn-lt"/>
              </a:rPr>
              <a:t>Quinzenal</a:t>
            </a:r>
          </a:p>
        </p:txBody>
      </p:sp>
      <p:sp>
        <p:nvSpPr>
          <p:cNvPr id="47" name="Text Box 44">
            <a:extLst>
              <a:ext uri="{FF2B5EF4-FFF2-40B4-BE49-F238E27FC236}">
                <a16:creationId xmlns:a16="http://schemas.microsoft.com/office/drawing/2014/main" xmlns="" id="{AABA532A-4D97-4804-9C00-41060D69F708}"/>
              </a:ext>
            </a:extLst>
          </p:cNvPr>
          <p:cNvSpPr txBox="1">
            <a:spLocks noChangeArrowheads="1"/>
          </p:cNvSpPr>
          <p:nvPr/>
        </p:nvSpPr>
        <p:spPr bwMode="auto">
          <a:xfrm rot="17923334">
            <a:off x="1354165" y="10895720"/>
            <a:ext cx="1713358" cy="615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7952" tIns="91400" rIns="107952" bIns="91400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altLang="pt-BR" sz="2800" dirty="0">
                <a:solidFill>
                  <a:schemeClr val="bg1"/>
                </a:solidFill>
                <a:latin typeface="+mn-lt"/>
              </a:rPr>
              <a:t>Quinzenal</a:t>
            </a:r>
          </a:p>
        </p:txBody>
      </p:sp>
      <p:sp>
        <p:nvSpPr>
          <p:cNvPr id="48" name="AutoShape 49">
            <a:extLst>
              <a:ext uri="{FF2B5EF4-FFF2-40B4-BE49-F238E27FC236}">
                <a16:creationId xmlns:a16="http://schemas.microsoft.com/office/drawing/2014/main" xmlns="" id="{796CF5B8-575C-4167-B7B8-BEAF742633F5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2979355" y="2631875"/>
            <a:ext cx="10237797" cy="10309926"/>
          </a:xfrm>
          <a:prstGeom prst="parallelogram">
            <a:avLst>
              <a:gd name="adj" fmla="val 48194"/>
            </a:avLst>
          </a:prstGeom>
          <a:solidFill>
            <a:srgbClr val="DAE3F3"/>
          </a:solidFill>
          <a:ln w="6350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lIns="107952" tIns="91400" rIns="107952" bIns="91400" anchor="ctr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endParaRPr lang="pt-BR" altLang="pt-BR" sz="2800">
              <a:latin typeface="Roboto"/>
            </a:endParaRPr>
          </a:p>
        </p:txBody>
      </p:sp>
      <p:sp>
        <p:nvSpPr>
          <p:cNvPr id="49" name="AutoShape 50">
            <a:extLst>
              <a:ext uri="{FF2B5EF4-FFF2-40B4-BE49-F238E27FC236}">
                <a16:creationId xmlns:a16="http://schemas.microsoft.com/office/drawing/2014/main" xmlns="" id="{AA024F51-9EC8-4BAF-9429-87B1757638D7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2979355" y="2631875"/>
            <a:ext cx="8631632" cy="6917342"/>
          </a:xfrm>
          <a:prstGeom prst="parallelogram">
            <a:avLst>
              <a:gd name="adj" fmla="val 47689"/>
            </a:avLst>
          </a:prstGeom>
          <a:solidFill>
            <a:srgbClr val="B4C7E7"/>
          </a:solidFill>
          <a:ln w="6350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lIns="107952" tIns="91400" rIns="107952" bIns="91400" anchor="ctr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endParaRPr lang="pt-BR" altLang="pt-BR" sz="2800">
              <a:latin typeface="+mn-lt"/>
            </a:endParaRPr>
          </a:p>
        </p:txBody>
      </p:sp>
      <p:sp>
        <p:nvSpPr>
          <p:cNvPr id="50" name="AutoShape 51">
            <a:extLst>
              <a:ext uri="{FF2B5EF4-FFF2-40B4-BE49-F238E27FC236}">
                <a16:creationId xmlns:a16="http://schemas.microsoft.com/office/drawing/2014/main" xmlns="" id="{B35C2D67-27E3-426C-977D-EAE821B21857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2979356" y="2631876"/>
            <a:ext cx="7025468" cy="3516750"/>
          </a:xfrm>
          <a:prstGeom prst="parallelogram">
            <a:avLst>
              <a:gd name="adj" fmla="val 48019"/>
            </a:avLst>
          </a:prstGeom>
          <a:solidFill>
            <a:schemeClr val="accent5"/>
          </a:solidFill>
          <a:ln w="6350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lIns="107952" tIns="91400" rIns="107952" bIns="91400" anchor="ctr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endParaRPr lang="pt-BR" altLang="pt-BR" sz="28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1" name="Text Box 52">
            <a:extLst>
              <a:ext uri="{FF2B5EF4-FFF2-40B4-BE49-F238E27FC236}">
                <a16:creationId xmlns:a16="http://schemas.microsoft.com/office/drawing/2014/main" xmlns="" id="{54B62C12-C492-49EF-A883-8826D74B2E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068421" y="4529462"/>
            <a:ext cx="5527540" cy="677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52" tIns="91400" rIns="107952" bIns="91400">
            <a:spAutoFit/>
          </a:bodyPr>
          <a:lstStyle>
            <a:lvl1pPr marL="88900" indent="-8890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3200" b="0" dirty="0">
                <a:solidFill>
                  <a:schemeClr val="bg1"/>
                </a:solidFill>
                <a:latin typeface="+mn-lt"/>
              </a:rPr>
              <a:t>CGeS</a:t>
            </a:r>
          </a:p>
        </p:txBody>
      </p:sp>
      <p:sp>
        <p:nvSpPr>
          <p:cNvPr id="52" name="Text Box 53">
            <a:extLst>
              <a:ext uri="{FF2B5EF4-FFF2-40B4-BE49-F238E27FC236}">
                <a16:creationId xmlns:a16="http://schemas.microsoft.com/office/drawing/2014/main" xmlns="" id="{594894CD-F1E3-4EFD-93CB-6CA9980A7E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52459" y="6494172"/>
            <a:ext cx="4688320" cy="2447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7952" tIns="91400" rIns="107952" bIns="91400"/>
          <a:lstStyle>
            <a:lvl1pPr marL="88900" indent="-8890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Char char="•"/>
            </a:pPr>
            <a:r>
              <a:rPr lang="pt-BR" altLang="pt-BR" sz="2800" b="0" dirty="0" smtClean="0">
                <a:latin typeface="+mn-lt"/>
              </a:rPr>
              <a:t>DATASUS + DEMAS </a:t>
            </a:r>
            <a:r>
              <a:rPr lang="pt-BR" altLang="pt-BR" sz="2800" b="0" dirty="0">
                <a:latin typeface="+mn-lt"/>
              </a:rPr>
              <a:t>+ </a:t>
            </a:r>
            <a:r>
              <a:rPr lang="pt-BR" altLang="pt-BR" sz="2800" b="0" dirty="0" smtClean="0">
                <a:latin typeface="+mn-lt"/>
              </a:rPr>
              <a:t>DSD</a:t>
            </a:r>
          </a:p>
          <a:p>
            <a:pPr>
              <a:buFontTx/>
              <a:buChar char="•"/>
            </a:pPr>
            <a:r>
              <a:rPr lang="pt-BR" altLang="pt-BR" sz="2800" b="0" dirty="0" smtClean="0">
                <a:latin typeface="+mn-lt"/>
              </a:rPr>
              <a:t>DAPS + DRAC</a:t>
            </a:r>
          </a:p>
          <a:p>
            <a:pPr>
              <a:buFontTx/>
              <a:buChar char="•"/>
            </a:pPr>
            <a:r>
              <a:rPr lang="pt-BR" altLang="pt-BR" sz="2800" b="0" dirty="0" smtClean="0">
                <a:latin typeface="+mn-lt"/>
              </a:rPr>
              <a:t>TCU</a:t>
            </a:r>
            <a:endParaRPr lang="pt-BR" altLang="pt-BR" sz="2800" b="0" dirty="0">
              <a:latin typeface="+mn-lt"/>
            </a:endParaRPr>
          </a:p>
          <a:p>
            <a:pPr>
              <a:buFontTx/>
              <a:buChar char="•"/>
            </a:pPr>
            <a:r>
              <a:rPr lang="pt-BR" altLang="pt-BR" sz="2800" b="0" dirty="0" smtClean="0">
                <a:latin typeface="+mn-lt"/>
              </a:rPr>
              <a:t>Gerentes </a:t>
            </a:r>
            <a:r>
              <a:rPr lang="pt-BR" altLang="pt-BR" sz="2800" b="0" dirty="0">
                <a:latin typeface="+mn-lt"/>
              </a:rPr>
              <a:t>dos Projetos (sob demanda)</a:t>
            </a:r>
          </a:p>
          <a:p>
            <a:pPr>
              <a:buFontTx/>
              <a:buChar char="•"/>
            </a:pPr>
            <a:endParaRPr lang="pt-BR" altLang="pt-BR" sz="2800" b="0" dirty="0">
              <a:latin typeface="+mn-lt"/>
            </a:endParaRPr>
          </a:p>
        </p:txBody>
      </p:sp>
      <p:sp>
        <p:nvSpPr>
          <p:cNvPr id="53" name="Text Box 57">
            <a:extLst>
              <a:ext uri="{FF2B5EF4-FFF2-40B4-BE49-F238E27FC236}">
                <a16:creationId xmlns:a16="http://schemas.microsoft.com/office/drawing/2014/main" xmlns="" id="{F1499AA1-9B11-4B06-B748-56B881B6A9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65265" y="10230138"/>
            <a:ext cx="5022770" cy="1093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7952" tIns="91400" rIns="107952" bIns="91400"/>
          <a:lstStyle>
            <a:lvl1pPr marL="88900" indent="-8890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Char char="•"/>
            </a:pPr>
            <a:r>
              <a:rPr lang="pt-BR" altLang="pt-BR" sz="3200" b="0" dirty="0">
                <a:latin typeface="+mn-lt"/>
              </a:rPr>
              <a:t>Gerentes dos Projetos</a:t>
            </a:r>
          </a:p>
          <a:p>
            <a:pPr>
              <a:buFontTx/>
              <a:buChar char="•"/>
            </a:pPr>
            <a:r>
              <a:rPr lang="pt-BR" altLang="pt-BR" sz="3200" b="0" dirty="0">
                <a:latin typeface="+mn-lt"/>
              </a:rPr>
              <a:t>EGP</a:t>
            </a:r>
          </a:p>
        </p:txBody>
      </p:sp>
      <p:sp>
        <p:nvSpPr>
          <p:cNvPr id="54" name="Text Box 58">
            <a:extLst>
              <a:ext uri="{FF2B5EF4-FFF2-40B4-BE49-F238E27FC236}">
                <a16:creationId xmlns:a16="http://schemas.microsoft.com/office/drawing/2014/main" xmlns="" id="{9941E492-C721-41F9-B912-5FFD79B6D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69010" y="3018635"/>
            <a:ext cx="4854774" cy="2252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52" tIns="91400" rIns="107952" bIns="91400">
            <a:spAutoFit/>
          </a:bodyPr>
          <a:lstStyle>
            <a:lvl1pPr marL="88900" indent="-8890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400" b="0" dirty="0">
                <a:solidFill>
                  <a:schemeClr val="bg1"/>
                </a:solidFill>
                <a:latin typeface="+mn-lt"/>
              </a:rPr>
              <a:t>Monitoramento do Progresso</a:t>
            </a:r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400" b="0" dirty="0">
                <a:solidFill>
                  <a:schemeClr val="bg1"/>
                </a:solidFill>
                <a:latin typeface="+mn-lt"/>
              </a:rPr>
              <a:t>Patrocinar e dar legitimidade</a:t>
            </a:r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400" b="0" dirty="0">
                <a:solidFill>
                  <a:schemeClr val="bg1"/>
                </a:solidFill>
                <a:latin typeface="+mn-lt"/>
              </a:rPr>
              <a:t>Aprovação de temas estratégicos</a:t>
            </a:r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400" b="0" dirty="0">
                <a:solidFill>
                  <a:schemeClr val="bg1"/>
                </a:solidFill>
                <a:latin typeface="+mn-lt"/>
              </a:rPr>
              <a:t>Resolver questões “escaladas” pelo Escritório de Gestão de Projetos </a:t>
            </a:r>
          </a:p>
        </p:txBody>
      </p:sp>
      <p:sp>
        <p:nvSpPr>
          <p:cNvPr id="55" name="Text Box 59">
            <a:extLst>
              <a:ext uri="{FF2B5EF4-FFF2-40B4-BE49-F238E27FC236}">
                <a16:creationId xmlns:a16="http://schemas.microsoft.com/office/drawing/2014/main" xmlns="" id="{ACF686C9-C1B6-4CB1-9776-F9914BC7F7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70853" y="6278626"/>
            <a:ext cx="5175833" cy="2106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7952" tIns="91400" rIns="107952" bIns="91400"/>
          <a:lstStyle>
            <a:lvl1pPr marL="88900" indent="-8890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400" b="0" dirty="0">
                <a:solidFill>
                  <a:schemeClr val="bg1"/>
                </a:solidFill>
                <a:latin typeface="+mn-lt"/>
              </a:rPr>
              <a:t>Apresentação das métricas dos projetos</a:t>
            </a:r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400" b="0" dirty="0">
                <a:solidFill>
                  <a:schemeClr val="bg1"/>
                </a:solidFill>
                <a:latin typeface="+mn-lt"/>
              </a:rPr>
              <a:t>Identificação de riscos</a:t>
            </a:r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400" b="0" dirty="0">
                <a:solidFill>
                  <a:schemeClr val="bg1"/>
                </a:solidFill>
                <a:latin typeface="+mn-lt"/>
              </a:rPr>
              <a:t>Tratamento de problemas</a:t>
            </a:r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400" b="0" dirty="0">
                <a:solidFill>
                  <a:schemeClr val="bg1"/>
                </a:solidFill>
                <a:latin typeface="+mn-lt"/>
              </a:rPr>
              <a:t>Alinhamento e integração  </a:t>
            </a:r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400" b="0" dirty="0">
                <a:solidFill>
                  <a:schemeClr val="bg1"/>
                </a:solidFill>
                <a:latin typeface="+mn-lt"/>
              </a:rPr>
              <a:t>Escalar questões para CIT e CGeS</a:t>
            </a:r>
          </a:p>
        </p:txBody>
      </p:sp>
      <p:sp>
        <p:nvSpPr>
          <p:cNvPr id="56" name="Text Box 60">
            <a:extLst>
              <a:ext uri="{FF2B5EF4-FFF2-40B4-BE49-F238E27FC236}">
                <a16:creationId xmlns:a16="http://schemas.microsoft.com/office/drawing/2014/main" xmlns="" id="{76C0EC88-0BE0-4C85-9CD5-7F88C97A7F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03455" y="9923383"/>
            <a:ext cx="4528852" cy="2106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7952" tIns="91400" rIns="107952" bIns="91400"/>
          <a:lstStyle>
            <a:lvl1pPr marL="88900" indent="-8890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800" b="0" dirty="0">
                <a:solidFill>
                  <a:schemeClr val="bg1"/>
                </a:solidFill>
                <a:latin typeface="+mn-lt"/>
              </a:rPr>
              <a:t>Evolução e Operação dos trabalhos</a:t>
            </a:r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800" b="0" dirty="0">
                <a:solidFill>
                  <a:schemeClr val="bg1"/>
                </a:solidFill>
                <a:latin typeface="+mn-lt"/>
              </a:rPr>
              <a:t>Temas diversos</a:t>
            </a:r>
          </a:p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2800" b="0" dirty="0">
                <a:solidFill>
                  <a:schemeClr val="bg1"/>
                </a:solidFill>
                <a:latin typeface="+mn-lt"/>
              </a:rPr>
              <a:t>Preparação de Reporte </a:t>
            </a:r>
            <a:r>
              <a:rPr lang="pt-BR" altLang="pt-BR" sz="2800" b="0" dirty="0" smtClean="0">
                <a:solidFill>
                  <a:schemeClr val="bg1"/>
                </a:solidFill>
                <a:latin typeface="+mn-lt"/>
              </a:rPr>
              <a:t>à Coordenação do SUS 4.0</a:t>
            </a:r>
            <a:endParaRPr lang="pt-BR" altLang="pt-BR" sz="2800" b="0" dirty="0">
              <a:solidFill>
                <a:schemeClr val="bg1"/>
              </a:solidFill>
              <a:latin typeface="+mn-lt"/>
            </a:endParaRPr>
          </a:p>
          <a:p>
            <a:pPr>
              <a:spcBef>
                <a:spcPct val="20000"/>
              </a:spcBef>
              <a:buFontTx/>
              <a:buChar char="•"/>
            </a:pPr>
            <a:endParaRPr lang="pt-BR" altLang="pt-BR" sz="2800" b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7" name="Rectangle 64">
            <a:extLst>
              <a:ext uri="{FF2B5EF4-FFF2-40B4-BE49-F238E27FC236}">
                <a16:creationId xmlns:a16="http://schemas.microsoft.com/office/drawing/2014/main" xmlns="" id="{B62C1450-E2DA-438C-9CBA-12552158EC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8370" y="1954960"/>
            <a:ext cx="2327138" cy="580787"/>
          </a:xfrm>
          <a:prstGeom prst="rect">
            <a:avLst/>
          </a:prstGeom>
          <a:solidFill>
            <a:srgbClr val="000000"/>
          </a:solidFill>
          <a:ln w="6350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lIns="107952" tIns="91400" rIns="107952" bIns="91400" anchor="ctr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pt-BR" altLang="pt-BR" sz="2800" dirty="0">
                <a:solidFill>
                  <a:schemeClr val="bg1"/>
                </a:solidFill>
                <a:latin typeface="+mn-lt"/>
              </a:rPr>
              <a:t>Frequência</a:t>
            </a:r>
          </a:p>
        </p:txBody>
      </p:sp>
      <p:sp>
        <p:nvSpPr>
          <p:cNvPr id="58" name="Rectangle 65">
            <a:extLst>
              <a:ext uri="{FF2B5EF4-FFF2-40B4-BE49-F238E27FC236}">
                <a16:creationId xmlns:a16="http://schemas.microsoft.com/office/drawing/2014/main" xmlns="" id="{BCBD2263-A866-4467-A175-8CE4EFE4B6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3951" y="1954960"/>
            <a:ext cx="5267096" cy="580787"/>
          </a:xfrm>
          <a:prstGeom prst="rect">
            <a:avLst/>
          </a:prstGeom>
          <a:gradFill flip="none" rotWithShape="1">
            <a:gsLst>
              <a:gs pos="0">
                <a:srgbClr val="203864">
                  <a:shade val="30000"/>
                  <a:satMod val="115000"/>
                </a:srgbClr>
              </a:gs>
              <a:gs pos="50000">
                <a:srgbClr val="203864">
                  <a:shade val="67500"/>
                  <a:satMod val="115000"/>
                </a:srgbClr>
              </a:gs>
              <a:gs pos="100000">
                <a:srgbClr val="203864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 w="6350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none" lIns="107952" tIns="91400" rIns="107952" bIns="91400" anchor="ctr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pt-BR" altLang="pt-BR" sz="2800">
                <a:solidFill>
                  <a:schemeClr val="bg1"/>
                </a:solidFill>
                <a:latin typeface="+mn-lt"/>
              </a:rPr>
              <a:t>Responsabilidade</a:t>
            </a:r>
          </a:p>
        </p:txBody>
      </p:sp>
      <p:sp>
        <p:nvSpPr>
          <p:cNvPr id="59" name="Rectangle 66">
            <a:extLst>
              <a:ext uri="{FF2B5EF4-FFF2-40B4-BE49-F238E27FC236}">
                <a16:creationId xmlns:a16="http://schemas.microsoft.com/office/drawing/2014/main" xmlns="" id="{5A570C0C-48D2-44F5-8419-095B8BECA5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27421" y="1954960"/>
            <a:ext cx="5267096" cy="58078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lIns="71981" tIns="71981" rIns="71981" bIns="71981"/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pt-BR" altLang="pt-BR" sz="2800" dirty="0">
                <a:solidFill>
                  <a:schemeClr val="bg1"/>
                </a:solidFill>
                <a:latin typeface="+mn-lt"/>
              </a:rPr>
              <a:t>Participantes</a:t>
            </a:r>
            <a:endParaRPr lang="pt-BR" altLang="pt-BR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0" name="Text Box 61">
            <a:extLst>
              <a:ext uri="{FF2B5EF4-FFF2-40B4-BE49-F238E27FC236}">
                <a16:creationId xmlns:a16="http://schemas.microsoft.com/office/drawing/2014/main" xmlns="" id="{19F68313-85B3-4F5E-8680-F5026FD52D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16895" y="10954351"/>
            <a:ext cx="3945316" cy="1292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52" tIns="91400" rIns="107952" bIns="91400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pt-BR" sz="3600" dirty="0">
                <a:solidFill>
                  <a:prstClr val="black"/>
                </a:solidFill>
                <a:latin typeface="+mn-lt"/>
              </a:rPr>
              <a:t>Controle de Projetos</a:t>
            </a:r>
          </a:p>
        </p:txBody>
      </p:sp>
      <p:sp>
        <p:nvSpPr>
          <p:cNvPr id="61" name="Text Box 62">
            <a:extLst>
              <a:ext uri="{FF2B5EF4-FFF2-40B4-BE49-F238E27FC236}">
                <a16:creationId xmlns:a16="http://schemas.microsoft.com/office/drawing/2014/main" xmlns="" id="{8F832462-0B9C-4C54-88EC-2E137EB522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31964" y="7226080"/>
            <a:ext cx="3351109" cy="1292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52" tIns="91400" rIns="107952" bIns="91400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pt-BR" sz="3600" dirty="0">
                <a:latin typeface="+mn-lt"/>
              </a:rPr>
              <a:t>Coordenação </a:t>
            </a:r>
            <a:r>
              <a:rPr lang="pt-BR" sz="3600" dirty="0" smtClean="0">
                <a:latin typeface="+mn-lt"/>
              </a:rPr>
              <a:t>do SUS 4.0</a:t>
            </a:r>
            <a:endParaRPr lang="pt-BR" sz="2800" dirty="0">
              <a:latin typeface="+mn-lt"/>
            </a:endParaRPr>
          </a:p>
        </p:txBody>
      </p:sp>
      <p:sp>
        <p:nvSpPr>
          <p:cNvPr id="62" name="Text Box 63">
            <a:extLst>
              <a:ext uri="{FF2B5EF4-FFF2-40B4-BE49-F238E27FC236}">
                <a16:creationId xmlns:a16="http://schemas.microsoft.com/office/drawing/2014/main" xmlns="" id="{CEEB5B42-861A-4750-8635-25802C51CC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0259" y="4283200"/>
            <a:ext cx="2154503" cy="1846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7952" tIns="91400" rIns="107952" bIns="91400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pt-BR" altLang="pt-BR" sz="3600" dirty="0">
                <a:solidFill>
                  <a:schemeClr val="bg1"/>
                </a:solidFill>
                <a:latin typeface="+mn-lt"/>
              </a:rPr>
              <a:t>Reunião de CGeS/CIT</a:t>
            </a:r>
          </a:p>
        </p:txBody>
      </p:sp>
      <p:sp>
        <p:nvSpPr>
          <p:cNvPr id="34" name="Text Box 52">
            <a:extLst>
              <a:ext uri="{FF2B5EF4-FFF2-40B4-BE49-F238E27FC236}">
                <a16:creationId xmlns:a16="http://schemas.microsoft.com/office/drawing/2014/main" xmlns="" id="{1ADD8DD7-4BCB-4D0E-88A7-9166D85AE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514879" y="5018092"/>
            <a:ext cx="4966706" cy="1046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52" tIns="91400" rIns="107952" bIns="91400">
            <a:spAutoFit/>
          </a:bodyPr>
          <a:lstStyle>
            <a:lvl1pPr marL="88900" indent="-8890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lvl="1" indent="0">
              <a:spcBef>
                <a:spcPct val="20000"/>
              </a:spcBef>
            </a:pPr>
            <a:r>
              <a:rPr lang="pt-BR" altLang="pt-BR" sz="2800" b="0" dirty="0">
                <a:solidFill>
                  <a:schemeClr val="bg1"/>
                </a:solidFill>
                <a:latin typeface="+mn-lt"/>
              </a:rPr>
              <a:t>MS + CONASS + CONASEMS + ANVISA + ANS</a:t>
            </a:r>
            <a:endParaRPr lang="pt-BR" altLang="pt-BR" sz="3200" b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3" name="Text Box 52">
            <a:extLst>
              <a:ext uri="{FF2B5EF4-FFF2-40B4-BE49-F238E27FC236}">
                <a16:creationId xmlns:a16="http://schemas.microsoft.com/office/drawing/2014/main" xmlns="" id="{52B440AC-B572-4D7E-AD91-BBD8853DA1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068421" y="3468029"/>
            <a:ext cx="5527540" cy="677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52" tIns="91400" rIns="107952" bIns="91400">
            <a:spAutoFit/>
          </a:bodyPr>
          <a:lstStyle>
            <a:lvl1pPr marL="88900" indent="-8890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FontTx/>
              <a:buChar char="•"/>
            </a:pPr>
            <a:r>
              <a:rPr lang="pt-BR" altLang="pt-BR" sz="3200" b="0" dirty="0">
                <a:solidFill>
                  <a:schemeClr val="bg1"/>
                </a:solidFill>
                <a:latin typeface="+mn-lt"/>
              </a:rPr>
              <a:t>CIT</a:t>
            </a:r>
          </a:p>
        </p:txBody>
      </p:sp>
      <p:sp>
        <p:nvSpPr>
          <p:cNvPr id="64" name="Text Box 52">
            <a:extLst>
              <a:ext uri="{FF2B5EF4-FFF2-40B4-BE49-F238E27FC236}">
                <a16:creationId xmlns:a16="http://schemas.microsoft.com/office/drawing/2014/main" xmlns="" id="{3D67E656-11FE-4C3E-A0FF-5C713D27EF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514879" y="3961948"/>
            <a:ext cx="4966706" cy="615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7952" tIns="91400" rIns="107952" bIns="91400">
            <a:spAutoFit/>
          </a:bodyPr>
          <a:lstStyle>
            <a:lvl1pPr marL="88900" indent="-8890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lvl="1" indent="0">
              <a:spcBef>
                <a:spcPct val="20000"/>
              </a:spcBef>
            </a:pPr>
            <a:r>
              <a:rPr lang="pt-BR" altLang="pt-BR" sz="2800" b="0" dirty="0">
                <a:solidFill>
                  <a:schemeClr val="bg1"/>
                </a:solidFill>
                <a:latin typeface="+mn-lt"/>
              </a:rPr>
              <a:t>MS + CONASS + CONASEMS</a:t>
            </a:r>
            <a:endParaRPr lang="pt-BR" altLang="pt-BR" sz="3200" b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5" name="Imagem 34">
            <a:extLst>
              <a:ext uri="{FF2B5EF4-FFF2-40B4-BE49-F238E27FC236}">
                <a16:creationId xmlns:a16="http://schemas.microsoft.com/office/drawing/2014/main" xmlns="" id="{FAB6F95C-6A49-4971-9C1B-29C4A75070E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7214" y="12909380"/>
            <a:ext cx="3926036" cy="558549"/>
          </a:xfrm>
          <a:prstGeom prst="rect">
            <a:avLst/>
          </a:prstGeom>
        </p:spPr>
      </p:pic>
      <p:pic>
        <p:nvPicPr>
          <p:cNvPr id="65" name="Imagem 64">
            <a:extLst>
              <a:ext uri="{FF2B5EF4-FFF2-40B4-BE49-F238E27FC236}">
                <a16:creationId xmlns:a16="http://schemas.microsoft.com/office/drawing/2014/main" xmlns="" id="{47761B97-FCE7-4D3E-BF76-F34496D8F6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54" y="13014128"/>
            <a:ext cx="1334546" cy="405227"/>
          </a:xfrm>
          <a:prstGeom prst="rect">
            <a:avLst/>
          </a:prstGeom>
        </p:spPr>
      </p:pic>
      <p:cxnSp>
        <p:nvCxnSpPr>
          <p:cNvPr id="66" name="Conector reto 65">
            <a:extLst>
              <a:ext uri="{FF2B5EF4-FFF2-40B4-BE49-F238E27FC236}">
                <a16:creationId xmlns:a16="http://schemas.microsoft.com/office/drawing/2014/main" xmlns="" id="{BCEAD484-7A70-4063-ABF5-E7FE4EE42392}"/>
              </a:ext>
            </a:extLst>
          </p:cNvPr>
          <p:cNvCxnSpPr>
            <a:cxnSpLocks/>
          </p:cNvCxnSpPr>
          <p:nvPr/>
        </p:nvCxnSpPr>
        <p:spPr>
          <a:xfrm>
            <a:off x="20165203" y="13014128"/>
            <a:ext cx="0" cy="64213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0222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3087" y="67301"/>
            <a:ext cx="18194564" cy="13648699"/>
          </a:xfrm>
          <a:prstGeom prst="rect">
            <a:avLst/>
          </a:prstGeom>
        </p:spPr>
      </p:pic>
      <p:sp>
        <p:nvSpPr>
          <p:cNvPr id="68" name="Rechteck 67"/>
          <p:cNvSpPr/>
          <p:nvPr/>
        </p:nvSpPr>
        <p:spPr>
          <a:xfrm>
            <a:off x="2" y="-5187"/>
            <a:ext cx="24377648" cy="157588"/>
          </a:xfrm>
          <a:prstGeom prst="rect">
            <a:avLst/>
          </a:prstGeom>
          <a:solidFill>
            <a:srgbClr val="26A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200000"/>
              </a:lnSpc>
            </a:pPr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endParaRPr lang="de-DE" sz="7196">
              <a:solidFill>
                <a:schemeClr val="bg1"/>
              </a:solidFill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2" y="13558412"/>
            <a:ext cx="24377648" cy="157588"/>
          </a:xfrm>
          <a:prstGeom prst="rect">
            <a:avLst/>
          </a:prstGeom>
          <a:solidFill>
            <a:srgbClr val="26A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200000"/>
              </a:lnSpc>
            </a:pPr>
            <a:endParaRPr lang="de-DE" sz="160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endParaRPr lang="de-DE" sz="7196">
              <a:solidFill>
                <a:schemeClr val="bg1"/>
              </a:solidFill>
            </a:endParaRPr>
          </a:p>
        </p:txBody>
      </p:sp>
      <p:sp>
        <p:nvSpPr>
          <p:cNvPr id="51" name="Gleichschenkliges Dreieck 50"/>
          <p:cNvSpPr/>
          <p:nvPr/>
        </p:nvSpPr>
        <p:spPr>
          <a:xfrm rot="10800000">
            <a:off x="11293341" y="152400"/>
            <a:ext cx="1790970" cy="926906"/>
          </a:xfrm>
          <a:prstGeom prst="triangle">
            <a:avLst/>
          </a:prstGeom>
          <a:solidFill>
            <a:srgbClr val="26A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xmlns="" id="{9B4B72B8-8E96-47B0-9A06-7480CEE26E4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3431" y="11379789"/>
            <a:ext cx="5314852" cy="756133"/>
          </a:xfrm>
          <a:prstGeom prst="rect">
            <a:avLst/>
          </a:prstGeom>
        </p:spPr>
      </p:pic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xmlns="" id="{31187364-DA25-47B8-A330-B226F1EF9DD9}"/>
              </a:ext>
            </a:extLst>
          </p:cNvPr>
          <p:cNvCxnSpPr>
            <a:cxnSpLocks/>
          </p:cNvCxnSpPr>
          <p:nvPr/>
        </p:nvCxnSpPr>
        <p:spPr>
          <a:xfrm>
            <a:off x="7838050" y="11517601"/>
            <a:ext cx="0" cy="86928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ixaDeTexto 15"/>
          <p:cNvSpPr txBox="1"/>
          <p:nvPr/>
        </p:nvSpPr>
        <p:spPr>
          <a:xfrm>
            <a:off x="1565031" y="2795927"/>
            <a:ext cx="1533776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rgbClr val="007095"/>
                </a:solidFill>
                <a:ea typeface="Lato" panose="020F0502020204030203" pitchFamily="34" charset="0"/>
                <a:cs typeface="Lato" panose="020F0502020204030203" pitchFamily="34" charset="0"/>
              </a:rPr>
              <a:t>Henrique Nixon</a:t>
            </a:r>
          </a:p>
          <a:p>
            <a:r>
              <a:rPr lang="pt-BR" sz="3200" b="1" dirty="0" smtClean="0">
                <a:solidFill>
                  <a:srgbClr val="007095"/>
                </a:solidFill>
                <a:ea typeface="Lato" panose="020F0502020204030203" pitchFamily="34" charset="0"/>
                <a:cs typeface="Lato" panose="020F0502020204030203" pitchFamily="34" charset="0"/>
              </a:rPr>
              <a:t>Coordenadora-Geral de Sistemas de Informação e Operação</a:t>
            </a:r>
          </a:p>
          <a:p>
            <a:r>
              <a:rPr lang="pt-BR" sz="3200" b="1" dirty="0" smtClean="0">
                <a:solidFill>
                  <a:srgbClr val="007095"/>
                </a:solidFill>
                <a:ea typeface="Lato" panose="020F0502020204030203" pitchFamily="34" charset="0"/>
                <a:cs typeface="Lato" panose="020F0502020204030203" pitchFamily="34" charset="0"/>
              </a:rPr>
              <a:t>Departamento de Informática do SUS - DATASUS</a:t>
            </a:r>
          </a:p>
          <a:p>
            <a:r>
              <a:rPr lang="pt-BR" sz="3200" b="1" dirty="0" smtClean="0">
                <a:solidFill>
                  <a:srgbClr val="007095"/>
                </a:solidFill>
                <a:ea typeface="Lato" panose="020F0502020204030203" pitchFamily="34" charset="0"/>
                <a:cs typeface="Lato" panose="020F0502020204030203" pitchFamily="34" charset="0"/>
              </a:rPr>
              <a:t>Secretaria </a:t>
            </a:r>
            <a:r>
              <a:rPr lang="pt-BR" sz="3200" b="1" dirty="0">
                <a:solidFill>
                  <a:srgbClr val="007095"/>
                </a:solidFill>
                <a:ea typeface="Lato" panose="020F0502020204030203" pitchFamily="34" charset="0"/>
                <a:cs typeface="Lato" panose="020F0502020204030203" pitchFamily="34" charset="0"/>
              </a:rPr>
              <a:t>Executiva/Ministério da </a:t>
            </a:r>
            <a:r>
              <a:rPr lang="pt-BR" sz="3200" b="1" dirty="0" smtClean="0">
                <a:solidFill>
                  <a:srgbClr val="007095"/>
                </a:solidFill>
                <a:ea typeface="Lato" panose="020F0502020204030203" pitchFamily="34" charset="0"/>
                <a:cs typeface="Lato" panose="020F0502020204030203" pitchFamily="34" charset="0"/>
              </a:rPr>
              <a:t>Saúde</a:t>
            </a:r>
            <a:endParaRPr lang="pt-BR" sz="3200" b="1" dirty="0">
              <a:solidFill>
                <a:srgbClr val="007095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640433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WNfhsw_kCVwGnWi6ST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WNfhsw_kCVwGnWi6ST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WNfhsw_kCVwGnWi6ST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Go6heqG0q5y8ZVeMjJ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MDsu6EAk2AdCQUU4Uj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Go6heqG0q5y8ZVeMjJ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TkzcOhg02TknmaHdWV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MDsu6EAk2AdCQUU4UjRA"/>
</p:tagLst>
</file>

<file path=ppt/theme/theme1.xml><?xml version="1.0" encoding="utf-8"?>
<a:theme xmlns:a="http://schemas.openxmlformats.org/drawingml/2006/main" name="Office Theme">
  <a:themeElements>
    <a:clrScheme name="Benutzerdefiniert 94">
      <a:dk1>
        <a:srgbClr val="464646"/>
      </a:dk1>
      <a:lt1>
        <a:srgbClr val="F0F0F0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88AB37493A754483A0C971CF949C6F" ma:contentTypeVersion="13" ma:contentTypeDescription="Create a new document." ma:contentTypeScope="" ma:versionID="20e86003b68b63416e3bfcaddd64e547">
  <xsd:schema xmlns:xsd="http://www.w3.org/2001/XMLSchema" xmlns:xs="http://www.w3.org/2001/XMLSchema" xmlns:p="http://schemas.microsoft.com/office/2006/metadata/properties" xmlns:ns3="a92563d6-9197-4664-8148-cad10ab4dbdb" xmlns:ns4="ee7d1038-8d96-4728-9c09-7b309bc7e1ba" targetNamespace="http://schemas.microsoft.com/office/2006/metadata/properties" ma:root="true" ma:fieldsID="d5120291b7c7ee6ea7528bb3432e0323" ns3:_="" ns4:_="">
    <xsd:import namespace="a92563d6-9197-4664-8148-cad10ab4dbdb"/>
    <xsd:import namespace="ee7d1038-8d96-4728-9c09-7b309bc7e1b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2563d6-9197-4664-8148-cad10ab4db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7d1038-8d96-4728-9c09-7b309bc7e1b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5436210-F619-4113-963E-A452AF34D642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ee7d1038-8d96-4728-9c09-7b309bc7e1ba"/>
    <ds:schemaRef ds:uri="a92563d6-9197-4664-8148-cad10ab4dbd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856B951-4D27-4222-A966-ABD0F04837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2563d6-9197-4664-8148-cad10ab4dbdb"/>
    <ds:schemaRef ds:uri="ee7d1038-8d96-4728-9c09-7b309bc7e1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472A84D-C04D-42ED-929E-035B766215F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277</TotalTime>
  <Words>354</Words>
  <Application>Microsoft Office PowerPoint</Application>
  <PresentationFormat>Personalizar</PresentationFormat>
  <Paragraphs>99</Paragraphs>
  <Slides>8</Slides>
  <Notes>8</Notes>
  <HiddenSlides>0</HiddenSlides>
  <MMClips>0</MMClips>
  <ScaleCrop>false</ScaleCrop>
  <HeadingPairs>
    <vt:vector size="6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16" baseType="lpstr">
      <vt:lpstr>Arial</vt:lpstr>
      <vt:lpstr>Arial Black</vt:lpstr>
      <vt:lpstr>Calibri</vt:lpstr>
      <vt:lpstr>Century Gothic</vt:lpstr>
      <vt:lpstr>Helvetica</vt:lpstr>
      <vt:lpstr>Lato</vt:lpstr>
      <vt:lpstr>Roboto</vt:lpstr>
      <vt:lpstr>Office Theme</vt:lpstr>
      <vt:lpstr>Apresentação do PowerPoint</vt:lpstr>
      <vt:lpstr>Apresentação do PowerPoint</vt:lpstr>
      <vt:lpstr>Apresentação do PowerPoint</vt:lpstr>
      <vt:lpstr>Privacidade de Dados na RNDS</vt:lpstr>
      <vt:lpstr>Apresentação do PowerPoint</vt:lpstr>
      <vt:lpstr>Detalhado</vt:lpstr>
      <vt:lpstr>Fóruns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erkan Elbasan</dc:creator>
  <cp:lastModifiedBy>Ariadna Edenice de Mendonça Vasconcelos</cp:lastModifiedBy>
  <cp:revision>1108</cp:revision>
  <cp:lastPrinted>2019-06-11T19:53:59Z</cp:lastPrinted>
  <dcterms:created xsi:type="dcterms:W3CDTF">2016-03-24T21:47:09Z</dcterms:created>
  <dcterms:modified xsi:type="dcterms:W3CDTF">2019-08-08T15:5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88AB37493A754483A0C971CF949C6F</vt:lpwstr>
  </property>
</Properties>
</file>